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6" r:id="rId2"/>
  </p:sldMasterIdLst>
  <p:notesMasterIdLst>
    <p:notesMasterId r:id="rId18"/>
  </p:notesMasterIdLst>
  <p:handoutMasterIdLst>
    <p:handoutMasterId r:id="rId19"/>
  </p:handoutMasterIdLst>
  <p:sldIdLst>
    <p:sldId id="528" r:id="rId3"/>
    <p:sldId id="539" r:id="rId4"/>
    <p:sldId id="545" r:id="rId5"/>
    <p:sldId id="541" r:id="rId6"/>
    <p:sldId id="542" r:id="rId7"/>
    <p:sldId id="563" r:id="rId8"/>
    <p:sldId id="546" r:id="rId9"/>
    <p:sldId id="561" r:id="rId10"/>
    <p:sldId id="562" r:id="rId11"/>
    <p:sldId id="534" r:id="rId12"/>
    <p:sldId id="536" r:id="rId13"/>
    <p:sldId id="537" r:id="rId14"/>
    <p:sldId id="547" r:id="rId15"/>
    <p:sldId id="548" r:id="rId16"/>
    <p:sldId id="557" r:id="rId17"/>
  </p:sldIdLst>
  <p:sldSz cx="9144000" cy="5143500" type="screen16x9"/>
  <p:notesSz cx="7010400" cy="9396413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60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6C08"/>
    <a:srgbClr val="9AC504"/>
    <a:srgbClr val="BDFFFD"/>
    <a:srgbClr val="595959"/>
    <a:srgbClr val="004236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Estilo oscuro 2 - Énfasis 1/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59" autoAdjust="0"/>
    <p:restoredTop sz="94676" autoAdjust="0"/>
  </p:normalViewPr>
  <p:slideViewPr>
    <p:cSldViewPr showGuides="1">
      <p:cViewPr varScale="1">
        <p:scale>
          <a:sx n="89" d="100"/>
          <a:sy n="89" d="100"/>
        </p:scale>
        <p:origin x="82" y="4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2826" y="-108"/>
      </p:cViewPr>
      <p:guideLst>
        <p:guide orient="horz" pos="2960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9821"/>
          </a:xfrm>
          <a:prstGeom prst="rect">
            <a:avLst/>
          </a:prstGeom>
        </p:spPr>
        <p:txBody>
          <a:bodyPr vert="horz" lIns="93744" tIns="46872" rIns="93744" bIns="46872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9821"/>
          </a:xfrm>
          <a:prstGeom prst="rect">
            <a:avLst/>
          </a:prstGeom>
        </p:spPr>
        <p:txBody>
          <a:bodyPr vert="horz" lIns="93744" tIns="46872" rIns="93744" bIns="46872" rtlCol="0"/>
          <a:lstStyle>
            <a:lvl1pPr algn="r">
              <a:defRPr sz="1200"/>
            </a:lvl1pPr>
          </a:lstStyle>
          <a:p>
            <a:fld id="{D72DE539-1F63-4F3D-B56F-FBBF4DABBCA9}" type="datetimeFigureOut">
              <a:rPr lang="es-CO" smtClean="0"/>
              <a:t>6/04/2017</a:t>
            </a:fld>
            <a:endParaRPr lang="es-CO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924961"/>
            <a:ext cx="3037840" cy="469821"/>
          </a:xfrm>
          <a:prstGeom prst="rect">
            <a:avLst/>
          </a:prstGeom>
        </p:spPr>
        <p:txBody>
          <a:bodyPr vert="horz" lIns="93744" tIns="46872" rIns="93744" bIns="46872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938" y="8924961"/>
            <a:ext cx="3037840" cy="469821"/>
          </a:xfrm>
          <a:prstGeom prst="rect">
            <a:avLst/>
          </a:prstGeom>
        </p:spPr>
        <p:txBody>
          <a:bodyPr vert="horz" lIns="93744" tIns="46872" rIns="93744" bIns="46872" rtlCol="0" anchor="b"/>
          <a:lstStyle>
            <a:lvl1pPr algn="r">
              <a:defRPr sz="1200"/>
            </a:lvl1pPr>
          </a:lstStyle>
          <a:p>
            <a:fld id="{29540D8E-4A43-4EF5-B4F6-B20CF3F0B606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23523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9821"/>
          </a:xfrm>
          <a:prstGeom prst="rect">
            <a:avLst/>
          </a:prstGeom>
        </p:spPr>
        <p:txBody>
          <a:bodyPr vert="horz" lIns="93744" tIns="46872" rIns="93744" bIns="46872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9821"/>
          </a:xfrm>
          <a:prstGeom prst="rect">
            <a:avLst/>
          </a:prstGeom>
        </p:spPr>
        <p:txBody>
          <a:bodyPr vert="horz" lIns="93744" tIns="46872" rIns="93744" bIns="46872" rtlCol="0"/>
          <a:lstStyle>
            <a:lvl1pPr algn="r">
              <a:defRPr sz="1200"/>
            </a:lvl1pPr>
          </a:lstStyle>
          <a:p>
            <a:fld id="{1674E1B0-23F2-441E-8650-1119F84F7E40}" type="datetimeFigureOut">
              <a:rPr lang="es-ES" smtClean="0"/>
              <a:t>06/04/2017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373063" y="704850"/>
            <a:ext cx="6264275" cy="3524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744" tIns="46872" rIns="93744" bIns="46872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040" y="4463296"/>
            <a:ext cx="5608320" cy="4228386"/>
          </a:xfrm>
          <a:prstGeom prst="rect">
            <a:avLst/>
          </a:prstGeom>
        </p:spPr>
        <p:txBody>
          <a:bodyPr vert="horz" lIns="93744" tIns="46872" rIns="93744" bIns="46872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924961"/>
            <a:ext cx="3037840" cy="469821"/>
          </a:xfrm>
          <a:prstGeom prst="rect">
            <a:avLst/>
          </a:prstGeom>
        </p:spPr>
        <p:txBody>
          <a:bodyPr vert="horz" lIns="93744" tIns="46872" rIns="93744" bIns="46872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938" y="8924961"/>
            <a:ext cx="3037840" cy="469821"/>
          </a:xfrm>
          <a:prstGeom prst="rect">
            <a:avLst/>
          </a:prstGeom>
        </p:spPr>
        <p:txBody>
          <a:bodyPr vert="horz" lIns="93744" tIns="46872" rIns="93744" bIns="46872" rtlCol="0" anchor="b"/>
          <a:lstStyle>
            <a:lvl1pPr algn="r">
              <a:defRPr sz="1200"/>
            </a:lvl1pPr>
          </a:lstStyle>
          <a:p>
            <a:fld id="{1DF5BABA-B5A5-44B2-B143-EA54692D128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79628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F5BABA-B5A5-44B2-B143-EA54692D128E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9963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D50F4B-F356-40B0-A41D-A465A4E2B830}" type="slidenum">
              <a:rPr lang="es-CO" smtClean="0"/>
              <a:t>8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2749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D50F4B-F356-40B0-A41D-A465A4E2B830}" type="slidenum">
              <a:rPr lang="es-CO" smtClean="0"/>
              <a:t>9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2749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6.xml"/><Relationship Id="rId7" Type="http://schemas.openxmlformats.org/officeDocument/2006/relationships/image" Target="../media/image8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5 Rectángulo"/>
          <p:cNvSpPr/>
          <p:nvPr userDrawn="1"/>
        </p:nvSpPr>
        <p:spPr>
          <a:xfrm>
            <a:off x="158474" y="4257175"/>
            <a:ext cx="8985539" cy="8799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rtlCol="0" anchor="ctr"/>
          <a:lstStyle/>
          <a:p>
            <a:pPr algn="ctr"/>
            <a:endParaRPr lang="es-CO" sz="1800">
              <a:solidFill>
                <a:prstClr val="white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3 Marcador de número de diapositiva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8599115" y="4851624"/>
            <a:ext cx="432048" cy="205978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9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0A26C49-F53D-4C00-B7DE-803A568B7C3F}" type="slidenum">
              <a:rPr lang="es-ES" smtClean="0">
                <a:solidFill>
                  <a:prstClr val="white">
                    <a:lumMod val="50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356" y="-7016"/>
            <a:ext cx="9144000" cy="2675467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143000" y="2667000"/>
            <a:ext cx="6858000" cy="840288"/>
          </a:xfrm>
          <a:prstGeom prst="rect">
            <a:avLst/>
          </a:prstGeom>
        </p:spPr>
        <p:txBody>
          <a:bodyPr anchor="ctr"/>
          <a:lstStyle>
            <a:lvl1pPr algn="ctr">
              <a:defRPr sz="4500" b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143000" y="3564141"/>
            <a:ext cx="6858000" cy="45140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_tradnl"/>
              <a:t>Haga clic para modificar el estilo de subtítulo del patrón</a:t>
            </a:r>
            <a:endParaRPr lang="en-US" dirty="0"/>
          </a:p>
        </p:txBody>
      </p:sp>
      <p:sp>
        <p:nvSpPr>
          <p:cNvPr id="12" name="Marcador de texto 9"/>
          <p:cNvSpPr>
            <a:spLocks noGrp="1"/>
          </p:cNvSpPr>
          <p:nvPr>
            <p:ph type="body" sz="quarter" idx="13"/>
          </p:nvPr>
        </p:nvSpPr>
        <p:spPr>
          <a:xfrm>
            <a:off x="1143000" y="4071676"/>
            <a:ext cx="6858000" cy="37465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00">
                <a:latin typeface="Arial" charset="0"/>
                <a:ea typeface="Arial" charset="0"/>
                <a:cs typeface="Arial" charset="0"/>
              </a:defRPr>
            </a:lvl2pPr>
            <a:lvl3pPr>
              <a:defRPr sz="1400">
                <a:latin typeface="Arial" charset="0"/>
                <a:ea typeface="Arial" charset="0"/>
                <a:cs typeface="Arial" charset="0"/>
              </a:defRPr>
            </a:lvl3pPr>
            <a:lvl4pPr>
              <a:defRPr sz="1400">
                <a:latin typeface="Arial" charset="0"/>
                <a:ea typeface="Arial" charset="0"/>
                <a:cs typeface="Arial" charset="0"/>
              </a:defRPr>
            </a:lvl4pPr>
            <a:lvl5pPr>
              <a:defRPr sz="14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6414" y="4466822"/>
            <a:ext cx="2629722" cy="599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458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Rectángulo 3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5" name="11 Rectángulo"/>
          <p:cNvSpPr/>
          <p:nvPr userDrawn="1">
            <p:custDataLst>
              <p:tags r:id="rId1"/>
            </p:custDataLst>
          </p:nvPr>
        </p:nvSpPr>
        <p:spPr>
          <a:xfrm>
            <a:off x="0" y="1299172"/>
            <a:ext cx="9144000" cy="1941343"/>
          </a:xfrm>
          <a:prstGeom prst="rect">
            <a:avLst/>
          </a:prstGeom>
          <a:solidFill>
            <a:srgbClr val="E71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s-CO">
              <a:cs typeface="Arial"/>
            </a:endParaRPr>
          </a:p>
        </p:txBody>
      </p:sp>
      <p:cxnSp>
        <p:nvCxnSpPr>
          <p:cNvPr id="7" name="3 Conector recto"/>
          <p:cNvCxnSpPr/>
          <p:nvPr userDrawn="1">
            <p:custDataLst>
              <p:tags r:id="rId2"/>
            </p:custDataLst>
          </p:nvPr>
        </p:nvCxnSpPr>
        <p:spPr>
          <a:xfrm>
            <a:off x="2145379" y="1784203"/>
            <a:ext cx="0" cy="895070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4 Triángulo isósceles"/>
          <p:cNvSpPr/>
          <p:nvPr userDrawn="1">
            <p:custDataLst>
              <p:tags r:id="rId3"/>
            </p:custDataLst>
          </p:nvPr>
        </p:nvSpPr>
        <p:spPr>
          <a:xfrm rot="5400000">
            <a:off x="2111807" y="2111987"/>
            <a:ext cx="330735" cy="239505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593880" y="1784203"/>
            <a:ext cx="6101619" cy="8950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pic>
        <p:nvPicPr>
          <p:cNvPr id="10" name="Imagen 3" descr="Modelo PPT-v3-11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11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85631" y="1649919"/>
            <a:ext cx="1874838" cy="11636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778317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Rectángulo 3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5" name="11 Rectángulo"/>
          <p:cNvSpPr/>
          <p:nvPr userDrawn="1">
            <p:custDataLst>
              <p:tags r:id="rId1"/>
            </p:custDataLst>
          </p:nvPr>
        </p:nvSpPr>
        <p:spPr>
          <a:xfrm>
            <a:off x="0" y="1299172"/>
            <a:ext cx="9144000" cy="19413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s-CO">
              <a:cs typeface="Arial"/>
            </a:endParaRPr>
          </a:p>
        </p:txBody>
      </p:sp>
      <p:cxnSp>
        <p:nvCxnSpPr>
          <p:cNvPr id="7" name="3 Conector recto"/>
          <p:cNvCxnSpPr/>
          <p:nvPr userDrawn="1">
            <p:custDataLst>
              <p:tags r:id="rId2"/>
            </p:custDataLst>
          </p:nvPr>
        </p:nvCxnSpPr>
        <p:spPr>
          <a:xfrm>
            <a:off x="2145379" y="1784203"/>
            <a:ext cx="0" cy="895070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4 Triángulo isósceles"/>
          <p:cNvSpPr/>
          <p:nvPr userDrawn="1">
            <p:custDataLst>
              <p:tags r:id="rId3"/>
            </p:custDataLst>
          </p:nvPr>
        </p:nvSpPr>
        <p:spPr>
          <a:xfrm rot="5400000">
            <a:off x="2111807" y="2111987"/>
            <a:ext cx="330735" cy="239505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593880" y="1784203"/>
            <a:ext cx="6101619" cy="8950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pic>
        <p:nvPicPr>
          <p:cNvPr id="10" name="Imagen 3" descr="Modelo PPT-v3-11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11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85631" y="1649919"/>
            <a:ext cx="1874838" cy="11636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761951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/>
          <p:cNvSpPr/>
          <p:nvPr userDrawn="1"/>
        </p:nvSpPr>
        <p:spPr>
          <a:xfrm>
            <a:off x="4302177" y="0"/>
            <a:ext cx="4841823" cy="51435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57417" y="4836319"/>
            <a:ext cx="686583" cy="3071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5B8F18-7ECA-ED49-B787-79FC144A8419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7" name="Rectángulo 6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5547295" y="682129"/>
            <a:ext cx="3249723" cy="583146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sp>
        <p:nvSpPr>
          <p:cNvPr id="10" name="Marcador de imagen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302177" cy="5143500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cxnSp>
        <p:nvCxnSpPr>
          <p:cNvPr id="14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5200312" y="688112"/>
            <a:ext cx="0" cy="583146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4 Triángulo isósceles"/>
          <p:cNvSpPr/>
          <p:nvPr userDrawn="1">
            <p:custDataLst>
              <p:tags r:id="rId2"/>
            </p:custDataLst>
          </p:nvPr>
        </p:nvSpPr>
        <p:spPr>
          <a:xfrm rot="5400000">
            <a:off x="5196633" y="876482"/>
            <a:ext cx="268504" cy="194440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0" name="Marcador de texto 19"/>
          <p:cNvSpPr>
            <a:spLocks noGrp="1"/>
          </p:cNvSpPr>
          <p:nvPr>
            <p:ph type="body" sz="quarter" idx="14"/>
          </p:nvPr>
        </p:nvSpPr>
        <p:spPr>
          <a:xfrm>
            <a:off x="4812393" y="1555921"/>
            <a:ext cx="3984625" cy="3101975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58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10287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3716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7145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pic>
        <p:nvPicPr>
          <p:cNvPr id="26" name="Imagen 2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885" y="4696426"/>
            <a:ext cx="2814875" cy="409437"/>
          </a:xfrm>
          <a:prstGeom prst="rect">
            <a:avLst/>
          </a:prstGeom>
        </p:spPr>
      </p:pic>
      <p:sp>
        <p:nvSpPr>
          <p:cNvPr id="16" name="Marcador de texto 3"/>
          <p:cNvSpPr>
            <a:spLocks noGrp="1"/>
          </p:cNvSpPr>
          <p:nvPr>
            <p:ph type="body" sz="quarter" idx="15"/>
          </p:nvPr>
        </p:nvSpPr>
        <p:spPr>
          <a:xfrm>
            <a:off x="4302177" y="682129"/>
            <a:ext cx="838540" cy="5831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6020391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 16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7" name="Rectángulo 6"/>
          <p:cNvSpPr/>
          <p:nvPr userDrawn="1"/>
        </p:nvSpPr>
        <p:spPr>
          <a:xfrm>
            <a:off x="4302177" y="0"/>
            <a:ext cx="4841823" cy="5143500"/>
          </a:xfrm>
          <a:prstGeom prst="rect">
            <a:avLst/>
          </a:prstGeom>
          <a:solidFill>
            <a:srgbClr val="254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57417" y="4836319"/>
            <a:ext cx="686583" cy="3071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5B8F18-7ECA-ED49-B787-79FC144A8419}" type="slidenum">
              <a:rPr lang="es-ES_tradnl" smtClean="0"/>
              <a:pPr/>
              <a:t>‹Nº›</a:t>
            </a:fld>
            <a:endParaRPr lang="es-ES_tradnl"/>
          </a:p>
        </p:txBody>
      </p:sp>
      <p:sp>
        <p:nvSpPr>
          <p:cNvPr id="8" name="Rectángulo 7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9" name="Título 7"/>
          <p:cNvSpPr>
            <a:spLocks noGrp="1"/>
          </p:cNvSpPr>
          <p:nvPr>
            <p:ph type="title"/>
          </p:nvPr>
        </p:nvSpPr>
        <p:spPr>
          <a:xfrm>
            <a:off x="5547295" y="682129"/>
            <a:ext cx="3249723" cy="583146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sp>
        <p:nvSpPr>
          <p:cNvPr id="10" name="Marcador de imagen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302177" cy="5143500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cxnSp>
        <p:nvCxnSpPr>
          <p:cNvPr id="12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5200312" y="688112"/>
            <a:ext cx="0" cy="583146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4 Triángulo isósceles"/>
          <p:cNvSpPr/>
          <p:nvPr userDrawn="1">
            <p:custDataLst>
              <p:tags r:id="rId2"/>
            </p:custDataLst>
          </p:nvPr>
        </p:nvSpPr>
        <p:spPr>
          <a:xfrm rot="5400000">
            <a:off x="5196633" y="876482"/>
            <a:ext cx="268504" cy="194440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4" name="Marcador de texto 19"/>
          <p:cNvSpPr>
            <a:spLocks noGrp="1"/>
          </p:cNvSpPr>
          <p:nvPr>
            <p:ph type="body" sz="quarter" idx="14"/>
          </p:nvPr>
        </p:nvSpPr>
        <p:spPr>
          <a:xfrm>
            <a:off x="4812393" y="1555921"/>
            <a:ext cx="3984625" cy="3101975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58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10287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3716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7145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885" y="4696426"/>
            <a:ext cx="2814875" cy="409437"/>
          </a:xfrm>
          <a:prstGeom prst="rect">
            <a:avLst/>
          </a:prstGeom>
        </p:spPr>
      </p:pic>
      <p:sp>
        <p:nvSpPr>
          <p:cNvPr id="16" name="Marcador de texto 3"/>
          <p:cNvSpPr>
            <a:spLocks noGrp="1"/>
          </p:cNvSpPr>
          <p:nvPr>
            <p:ph type="body" sz="quarter" idx="15"/>
          </p:nvPr>
        </p:nvSpPr>
        <p:spPr>
          <a:xfrm>
            <a:off x="4302177" y="682129"/>
            <a:ext cx="838540" cy="5831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8495812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Rectángulo 3"/>
          <p:cNvSpPr/>
          <p:nvPr userDrawn="1"/>
        </p:nvSpPr>
        <p:spPr>
          <a:xfrm>
            <a:off x="4302177" y="0"/>
            <a:ext cx="4841823" cy="5143500"/>
          </a:xfrm>
          <a:prstGeom prst="rect">
            <a:avLst/>
          </a:prstGeom>
          <a:solidFill>
            <a:srgbClr val="2DA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>
          <a:xfrm>
            <a:off x="8457417" y="4836319"/>
            <a:ext cx="686583" cy="3071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5B8F18-7ECA-ED49-B787-79FC144A8419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5" name="Rectángulo 4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Título 7"/>
          <p:cNvSpPr>
            <a:spLocks noGrp="1"/>
          </p:cNvSpPr>
          <p:nvPr>
            <p:ph type="title"/>
          </p:nvPr>
        </p:nvSpPr>
        <p:spPr>
          <a:xfrm>
            <a:off x="5547295" y="682129"/>
            <a:ext cx="3249723" cy="583146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sp>
        <p:nvSpPr>
          <p:cNvPr id="7" name="Marcador de imagen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302177" cy="5143500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cxnSp>
        <p:nvCxnSpPr>
          <p:cNvPr id="9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5200312" y="688112"/>
            <a:ext cx="0" cy="583146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4 Triángulo isósceles"/>
          <p:cNvSpPr/>
          <p:nvPr userDrawn="1">
            <p:custDataLst>
              <p:tags r:id="rId2"/>
            </p:custDataLst>
          </p:nvPr>
        </p:nvSpPr>
        <p:spPr>
          <a:xfrm rot="5400000">
            <a:off x="5196633" y="876482"/>
            <a:ext cx="268504" cy="194440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/>
          </p:nvPr>
        </p:nvSpPr>
        <p:spPr>
          <a:xfrm>
            <a:off x="4812393" y="1555921"/>
            <a:ext cx="3984625" cy="3101975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58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10287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3716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7145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885" y="4696426"/>
            <a:ext cx="2814875" cy="409437"/>
          </a:xfrm>
          <a:prstGeom prst="rect">
            <a:avLst/>
          </a:prstGeom>
        </p:spPr>
      </p:pic>
      <p:sp>
        <p:nvSpPr>
          <p:cNvPr id="13" name="Marcador de texto 3"/>
          <p:cNvSpPr>
            <a:spLocks noGrp="1"/>
          </p:cNvSpPr>
          <p:nvPr>
            <p:ph type="body" sz="quarter" idx="15"/>
          </p:nvPr>
        </p:nvSpPr>
        <p:spPr>
          <a:xfrm>
            <a:off x="4302177" y="682129"/>
            <a:ext cx="838540" cy="5831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8845975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Rectángulo 3"/>
          <p:cNvSpPr/>
          <p:nvPr userDrawn="1"/>
        </p:nvSpPr>
        <p:spPr>
          <a:xfrm>
            <a:off x="4302177" y="0"/>
            <a:ext cx="4841823" cy="5143500"/>
          </a:xfrm>
          <a:prstGeom prst="rect">
            <a:avLst/>
          </a:prstGeom>
          <a:solidFill>
            <a:srgbClr val="00A4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>
          <a:xfrm>
            <a:off x="8457417" y="4836319"/>
            <a:ext cx="686583" cy="3071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5B8F18-7ECA-ED49-B787-79FC144A8419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5" name="Rectángulo 4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Título 7"/>
          <p:cNvSpPr>
            <a:spLocks noGrp="1"/>
          </p:cNvSpPr>
          <p:nvPr>
            <p:ph type="title"/>
          </p:nvPr>
        </p:nvSpPr>
        <p:spPr>
          <a:xfrm>
            <a:off x="5547295" y="682129"/>
            <a:ext cx="3249723" cy="583146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sp>
        <p:nvSpPr>
          <p:cNvPr id="7" name="Marcador de imagen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302177" cy="5143500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cxnSp>
        <p:nvCxnSpPr>
          <p:cNvPr id="9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5200312" y="688112"/>
            <a:ext cx="0" cy="583146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4 Triángulo isósceles"/>
          <p:cNvSpPr/>
          <p:nvPr userDrawn="1">
            <p:custDataLst>
              <p:tags r:id="rId2"/>
            </p:custDataLst>
          </p:nvPr>
        </p:nvSpPr>
        <p:spPr>
          <a:xfrm rot="5400000">
            <a:off x="5196633" y="876482"/>
            <a:ext cx="268504" cy="194440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/>
          </p:nvPr>
        </p:nvSpPr>
        <p:spPr>
          <a:xfrm>
            <a:off x="4812393" y="1555921"/>
            <a:ext cx="3984625" cy="3101975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58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10287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3716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7145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885" y="4696426"/>
            <a:ext cx="2814875" cy="409437"/>
          </a:xfrm>
          <a:prstGeom prst="rect">
            <a:avLst/>
          </a:prstGeom>
        </p:spPr>
      </p:pic>
      <p:sp>
        <p:nvSpPr>
          <p:cNvPr id="13" name="Marcador de texto 3"/>
          <p:cNvSpPr>
            <a:spLocks noGrp="1"/>
          </p:cNvSpPr>
          <p:nvPr>
            <p:ph type="body" sz="quarter" idx="15"/>
          </p:nvPr>
        </p:nvSpPr>
        <p:spPr>
          <a:xfrm>
            <a:off x="4302177" y="682129"/>
            <a:ext cx="838540" cy="5831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4208686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Rectángulo 3"/>
          <p:cNvSpPr/>
          <p:nvPr userDrawn="1"/>
        </p:nvSpPr>
        <p:spPr>
          <a:xfrm>
            <a:off x="4302177" y="0"/>
            <a:ext cx="4841823" cy="5143500"/>
          </a:xfrm>
          <a:prstGeom prst="rect">
            <a:avLst/>
          </a:prstGeom>
          <a:solidFill>
            <a:srgbClr val="43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>
          <a:xfrm>
            <a:off x="8457417" y="4836319"/>
            <a:ext cx="686583" cy="3071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5B8F18-7ECA-ED49-B787-79FC144A8419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5" name="Rectángulo 4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Título 7"/>
          <p:cNvSpPr>
            <a:spLocks noGrp="1"/>
          </p:cNvSpPr>
          <p:nvPr>
            <p:ph type="title"/>
          </p:nvPr>
        </p:nvSpPr>
        <p:spPr>
          <a:xfrm>
            <a:off x="5547295" y="682129"/>
            <a:ext cx="3249723" cy="583146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sp>
        <p:nvSpPr>
          <p:cNvPr id="7" name="Marcador de imagen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302177" cy="5143500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cxnSp>
        <p:nvCxnSpPr>
          <p:cNvPr id="9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5200312" y="688112"/>
            <a:ext cx="0" cy="583146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4 Triángulo isósceles"/>
          <p:cNvSpPr/>
          <p:nvPr userDrawn="1">
            <p:custDataLst>
              <p:tags r:id="rId2"/>
            </p:custDataLst>
          </p:nvPr>
        </p:nvSpPr>
        <p:spPr>
          <a:xfrm rot="5400000">
            <a:off x="5196633" y="876482"/>
            <a:ext cx="268504" cy="194440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/>
          </p:nvPr>
        </p:nvSpPr>
        <p:spPr>
          <a:xfrm>
            <a:off x="4812393" y="1555921"/>
            <a:ext cx="3984625" cy="3101975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58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10287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3716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7145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885" y="4696426"/>
            <a:ext cx="2814875" cy="409437"/>
          </a:xfrm>
          <a:prstGeom prst="rect">
            <a:avLst/>
          </a:prstGeom>
        </p:spPr>
      </p:pic>
      <p:sp>
        <p:nvSpPr>
          <p:cNvPr id="13" name="Marcador de texto 3"/>
          <p:cNvSpPr>
            <a:spLocks noGrp="1"/>
          </p:cNvSpPr>
          <p:nvPr>
            <p:ph type="body" sz="quarter" idx="15"/>
          </p:nvPr>
        </p:nvSpPr>
        <p:spPr>
          <a:xfrm>
            <a:off x="4302177" y="682129"/>
            <a:ext cx="838540" cy="5831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572582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Rectángulo 3"/>
          <p:cNvSpPr/>
          <p:nvPr userDrawn="1"/>
        </p:nvSpPr>
        <p:spPr>
          <a:xfrm>
            <a:off x="4302177" y="0"/>
            <a:ext cx="4841823" cy="5143500"/>
          </a:xfrm>
          <a:prstGeom prst="rect">
            <a:avLst/>
          </a:prstGeom>
          <a:solidFill>
            <a:srgbClr val="5FB3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>
          <a:xfrm>
            <a:off x="8457417" y="4836319"/>
            <a:ext cx="686583" cy="3071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5B8F18-7ECA-ED49-B787-79FC144A8419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5" name="Rectángulo 4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Título 7"/>
          <p:cNvSpPr>
            <a:spLocks noGrp="1"/>
          </p:cNvSpPr>
          <p:nvPr>
            <p:ph type="title"/>
          </p:nvPr>
        </p:nvSpPr>
        <p:spPr>
          <a:xfrm>
            <a:off x="5547295" y="682129"/>
            <a:ext cx="3249723" cy="583146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sp>
        <p:nvSpPr>
          <p:cNvPr id="7" name="Marcador de imagen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302177" cy="5143500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cxnSp>
        <p:nvCxnSpPr>
          <p:cNvPr id="9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5200312" y="688112"/>
            <a:ext cx="0" cy="583146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4 Triángulo isósceles"/>
          <p:cNvSpPr/>
          <p:nvPr userDrawn="1">
            <p:custDataLst>
              <p:tags r:id="rId2"/>
            </p:custDataLst>
          </p:nvPr>
        </p:nvSpPr>
        <p:spPr>
          <a:xfrm rot="5400000">
            <a:off x="5196633" y="876482"/>
            <a:ext cx="268504" cy="194440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Marcador de texto 19"/>
          <p:cNvSpPr>
            <a:spLocks noGrp="1"/>
          </p:cNvSpPr>
          <p:nvPr>
            <p:ph type="body" sz="quarter" idx="14"/>
          </p:nvPr>
        </p:nvSpPr>
        <p:spPr>
          <a:xfrm>
            <a:off x="4812393" y="1555921"/>
            <a:ext cx="3984625" cy="3101975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58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10287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3716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7145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885" y="4696426"/>
            <a:ext cx="2814875" cy="409437"/>
          </a:xfrm>
          <a:prstGeom prst="rect">
            <a:avLst/>
          </a:prstGeom>
        </p:spPr>
      </p:pic>
      <p:sp>
        <p:nvSpPr>
          <p:cNvPr id="13" name="Marcador de texto 3"/>
          <p:cNvSpPr>
            <a:spLocks noGrp="1"/>
          </p:cNvSpPr>
          <p:nvPr>
            <p:ph type="body" sz="quarter" idx="15"/>
          </p:nvPr>
        </p:nvSpPr>
        <p:spPr>
          <a:xfrm>
            <a:off x="4302177" y="682129"/>
            <a:ext cx="838540" cy="5831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6337843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Rectángulo 3"/>
          <p:cNvSpPr/>
          <p:nvPr userDrawn="1"/>
        </p:nvSpPr>
        <p:spPr>
          <a:xfrm>
            <a:off x="4302177" y="0"/>
            <a:ext cx="4841823" cy="5143500"/>
          </a:xfrm>
          <a:prstGeom prst="rect">
            <a:avLst/>
          </a:prstGeom>
          <a:solidFill>
            <a:srgbClr val="E727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5" name="Marcador de número de diapositiva 2"/>
          <p:cNvSpPr>
            <a:spLocks noGrp="1"/>
          </p:cNvSpPr>
          <p:nvPr>
            <p:ph type="sldNum" sz="quarter" idx="10"/>
          </p:nvPr>
        </p:nvSpPr>
        <p:spPr>
          <a:xfrm>
            <a:off x="8457417" y="4836319"/>
            <a:ext cx="686583" cy="3071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5B8F18-7ECA-ED49-B787-79FC144A8419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6" name="Rectángulo 5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7" name="Título 7"/>
          <p:cNvSpPr>
            <a:spLocks noGrp="1"/>
          </p:cNvSpPr>
          <p:nvPr>
            <p:ph type="title"/>
          </p:nvPr>
        </p:nvSpPr>
        <p:spPr>
          <a:xfrm>
            <a:off x="5547295" y="682129"/>
            <a:ext cx="3249723" cy="583146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sp>
        <p:nvSpPr>
          <p:cNvPr id="8" name="Marcador de imagen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302177" cy="5143500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cxnSp>
        <p:nvCxnSpPr>
          <p:cNvPr id="10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5200312" y="688112"/>
            <a:ext cx="0" cy="583146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4 Triángulo isósceles"/>
          <p:cNvSpPr/>
          <p:nvPr userDrawn="1">
            <p:custDataLst>
              <p:tags r:id="rId2"/>
            </p:custDataLst>
          </p:nvPr>
        </p:nvSpPr>
        <p:spPr>
          <a:xfrm rot="5400000">
            <a:off x="5196633" y="876482"/>
            <a:ext cx="268504" cy="194440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2" name="Marcador de texto 19"/>
          <p:cNvSpPr>
            <a:spLocks noGrp="1"/>
          </p:cNvSpPr>
          <p:nvPr>
            <p:ph type="body" sz="quarter" idx="14"/>
          </p:nvPr>
        </p:nvSpPr>
        <p:spPr>
          <a:xfrm>
            <a:off x="4812393" y="1555921"/>
            <a:ext cx="3984625" cy="3101975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58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10287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3716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7145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885" y="4696426"/>
            <a:ext cx="2814875" cy="409437"/>
          </a:xfrm>
          <a:prstGeom prst="rect">
            <a:avLst/>
          </a:prstGeom>
        </p:spPr>
      </p:pic>
      <p:sp>
        <p:nvSpPr>
          <p:cNvPr id="14" name="Marcador de texto 3"/>
          <p:cNvSpPr>
            <a:spLocks noGrp="1"/>
          </p:cNvSpPr>
          <p:nvPr>
            <p:ph type="body" sz="quarter" idx="15"/>
          </p:nvPr>
        </p:nvSpPr>
        <p:spPr>
          <a:xfrm>
            <a:off x="4302177" y="682129"/>
            <a:ext cx="838540" cy="5831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663703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Rectángulo 3"/>
          <p:cNvSpPr/>
          <p:nvPr userDrawn="1"/>
        </p:nvSpPr>
        <p:spPr>
          <a:xfrm>
            <a:off x="4302177" y="0"/>
            <a:ext cx="4841823" cy="51435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5" name="Marcador de número de diapositiva 2"/>
          <p:cNvSpPr>
            <a:spLocks noGrp="1"/>
          </p:cNvSpPr>
          <p:nvPr>
            <p:ph type="sldNum" sz="quarter" idx="10"/>
          </p:nvPr>
        </p:nvSpPr>
        <p:spPr>
          <a:xfrm>
            <a:off x="8457417" y="4836319"/>
            <a:ext cx="686583" cy="3071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5B8F18-7ECA-ED49-B787-79FC144A8419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6" name="Rectángulo 5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7" name="Título 7"/>
          <p:cNvSpPr>
            <a:spLocks noGrp="1"/>
          </p:cNvSpPr>
          <p:nvPr>
            <p:ph type="title"/>
          </p:nvPr>
        </p:nvSpPr>
        <p:spPr>
          <a:xfrm>
            <a:off x="5547295" y="682129"/>
            <a:ext cx="3249723" cy="583146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sp>
        <p:nvSpPr>
          <p:cNvPr id="8" name="Marcador de imagen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302177" cy="5143500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cxnSp>
        <p:nvCxnSpPr>
          <p:cNvPr id="10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5200312" y="688112"/>
            <a:ext cx="0" cy="583146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4 Triángulo isósceles"/>
          <p:cNvSpPr/>
          <p:nvPr userDrawn="1">
            <p:custDataLst>
              <p:tags r:id="rId2"/>
            </p:custDataLst>
          </p:nvPr>
        </p:nvSpPr>
        <p:spPr>
          <a:xfrm rot="5400000">
            <a:off x="5196633" y="876482"/>
            <a:ext cx="268504" cy="194440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2" name="Marcador de texto 19"/>
          <p:cNvSpPr>
            <a:spLocks noGrp="1"/>
          </p:cNvSpPr>
          <p:nvPr>
            <p:ph type="body" sz="quarter" idx="14"/>
          </p:nvPr>
        </p:nvSpPr>
        <p:spPr>
          <a:xfrm>
            <a:off x="4812393" y="1555921"/>
            <a:ext cx="3984625" cy="3101975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858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10287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3716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714500" indent="-342900"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885" y="4696426"/>
            <a:ext cx="2814875" cy="409437"/>
          </a:xfrm>
          <a:prstGeom prst="rect">
            <a:avLst/>
          </a:prstGeom>
        </p:spPr>
      </p:pic>
      <p:sp>
        <p:nvSpPr>
          <p:cNvPr id="14" name="Marcador de texto 3"/>
          <p:cNvSpPr>
            <a:spLocks noGrp="1"/>
          </p:cNvSpPr>
          <p:nvPr>
            <p:ph type="body" sz="quarter" idx="15"/>
          </p:nvPr>
        </p:nvSpPr>
        <p:spPr>
          <a:xfrm>
            <a:off x="4302177" y="682129"/>
            <a:ext cx="838540" cy="5831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690938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50730" y="136382"/>
            <a:ext cx="8550186" cy="502445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50730" y="938594"/>
            <a:ext cx="8550186" cy="378630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4017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11566" y="96011"/>
            <a:ext cx="7792677" cy="534640"/>
          </a:xfrm>
          <a:prstGeom prst="rect">
            <a:avLst/>
          </a:prstGeom>
        </p:spPr>
        <p:txBody>
          <a:bodyPr/>
          <a:lstStyle>
            <a:lvl1pPr>
              <a:defRPr sz="25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5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1146759" y="87855"/>
            <a:ext cx="0" cy="542796"/>
          </a:xfrm>
          <a:prstGeom prst="line">
            <a:avLst/>
          </a:prstGeom>
          <a:solidFill>
            <a:srgbClr val="254A8D"/>
          </a:solidFill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199719" y="87726"/>
            <a:ext cx="882234" cy="542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500" b="1">
                <a:solidFill>
                  <a:srgbClr val="002060"/>
                </a:solidFill>
              </a:defRPr>
            </a:lvl1pPr>
            <a:lvl2pPr>
              <a:defRPr sz="4000" b="1">
                <a:solidFill>
                  <a:srgbClr val="002060"/>
                </a:solidFill>
              </a:defRPr>
            </a:lvl2pPr>
            <a:lvl3pPr>
              <a:defRPr sz="4000" b="1">
                <a:solidFill>
                  <a:srgbClr val="002060"/>
                </a:solidFill>
              </a:defRPr>
            </a:lvl3pPr>
            <a:lvl4pPr>
              <a:defRPr sz="4000" b="1">
                <a:solidFill>
                  <a:srgbClr val="002060"/>
                </a:solidFill>
              </a:defRPr>
            </a:lvl4pPr>
            <a:lvl5pPr>
              <a:defRPr sz="4000" b="1">
                <a:solidFill>
                  <a:srgbClr val="002060"/>
                </a:solidFill>
              </a:defRPr>
            </a:lvl5pPr>
          </a:lstStyle>
          <a:p>
            <a:pPr lvl="0"/>
            <a:endParaRPr lang="es-ES_tradnl" dirty="0"/>
          </a:p>
        </p:txBody>
      </p:sp>
      <p:pic>
        <p:nvPicPr>
          <p:cNvPr id="8" name="Imagen 3" descr="Modelo PPT-v3-11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436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>
          <a:xfrm>
            <a:off x="8457417" y="4836319"/>
            <a:ext cx="686583" cy="307181"/>
          </a:xfrm>
          <a:prstGeom prst="rect">
            <a:avLst/>
          </a:prstGeom>
        </p:spPr>
        <p:txBody>
          <a:bodyPr/>
          <a:lstStyle/>
          <a:p>
            <a:fld id="{A85B8F18-7ECA-ED49-B787-79FC144A8419}" type="slidenum">
              <a:rPr lang="es-ES_tradnl" smtClean="0"/>
              <a:pPr/>
              <a:t>‹Nº›</a:t>
            </a:fld>
            <a:endParaRPr lang="es-ES_tradnl" dirty="0"/>
          </a:p>
        </p:txBody>
      </p:sp>
      <p:pic>
        <p:nvPicPr>
          <p:cNvPr id="4" name="Imagen 3" descr="Modelo PPT-v3-11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211566" y="96011"/>
            <a:ext cx="7792677" cy="5346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s-ES_tradnl"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9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1146759" y="87855"/>
            <a:ext cx="0" cy="542796"/>
          </a:xfrm>
          <a:prstGeom prst="line">
            <a:avLst/>
          </a:prstGeom>
          <a:solidFill>
            <a:srgbClr val="254A8D"/>
          </a:solidFill>
          <a:ln w="57150">
            <a:solidFill>
              <a:srgbClr val="2549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199719" y="87726"/>
            <a:ext cx="882234" cy="542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500" b="1">
                <a:solidFill>
                  <a:srgbClr val="25498E"/>
                </a:solidFill>
              </a:defRPr>
            </a:lvl1pPr>
            <a:lvl2pPr>
              <a:defRPr sz="4000" b="1">
                <a:solidFill>
                  <a:srgbClr val="002060"/>
                </a:solidFill>
              </a:defRPr>
            </a:lvl2pPr>
            <a:lvl3pPr>
              <a:defRPr sz="4000" b="1">
                <a:solidFill>
                  <a:srgbClr val="002060"/>
                </a:solidFill>
              </a:defRPr>
            </a:lvl3pPr>
            <a:lvl4pPr>
              <a:defRPr sz="4000" b="1">
                <a:solidFill>
                  <a:srgbClr val="002060"/>
                </a:solidFill>
              </a:defRPr>
            </a:lvl4pPr>
            <a:lvl5pPr>
              <a:defRPr sz="4000" b="1">
                <a:solidFill>
                  <a:srgbClr val="002060"/>
                </a:solidFill>
              </a:defRPr>
            </a:lvl5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931490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Modelo PPT-v3-11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1211566" y="96011"/>
            <a:ext cx="7792677" cy="5346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s-ES_tradnl"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10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1146759" y="87855"/>
            <a:ext cx="0" cy="542796"/>
          </a:xfrm>
          <a:prstGeom prst="line">
            <a:avLst/>
          </a:prstGeom>
          <a:solidFill>
            <a:srgbClr val="254A8D"/>
          </a:solidFill>
          <a:ln w="57150">
            <a:solidFill>
              <a:srgbClr val="3BA2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199719" y="87726"/>
            <a:ext cx="882234" cy="542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500" b="1">
                <a:solidFill>
                  <a:srgbClr val="3BA2DB"/>
                </a:solidFill>
              </a:defRPr>
            </a:lvl1pPr>
            <a:lvl2pPr>
              <a:defRPr sz="4000" b="1">
                <a:solidFill>
                  <a:srgbClr val="002060"/>
                </a:solidFill>
              </a:defRPr>
            </a:lvl2pPr>
            <a:lvl3pPr>
              <a:defRPr sz="4000" b="1">
                <a:solidFill>
                  <a:srgbClr val="002060"/>
                </a:solidFill>
              </a:defRPr>
            </a:lvl3pPr>
            <a:lvl4pPr>
              <a:defRPr sz="4000" b="1">
                <a:solidFill>
                  <a:srgbClr val="002060"/>
                </a:solidFill>
              </a:defRPr>
            </a:lvl4pPr>
            <a:lvl5pPr>
              <a:defRPr sz="4000" b="1">
                <a:solidFill>
                  <a:srgbClr val="002060"/>
                </a:solidFill>
              </a:defRPr>
            </a:lvl5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9242887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Modelo PPT-v3-11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211566" y="96011"/>
            <a:ext cx="7792677" cy="5346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s-ES_tradnl"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9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1146759" y="87855"/>
            <a:ext cx="0" cy="542796"/>
          </a:xfrm>
          <a:prstGeom prst="line">
            <a:avLst/>
          </a:prstGeom>
          <a:solidFill>
            <a:srgbClr val="254A8D"/>
          </a:solidFill>
          <a:ln w="57150">
            <a:solidFill>
              <a:srgbClr val="33A4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199719" y="87726"/>
            <a:ext cx="882234" cy="542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500" b="1">
                <a:solidFill>
                  <a:srgbClr val="33A4A1"/>
                </a:solidFill>
              </a:defRPr>
            </a:lvl1pPr>
            <a:lvl2pPr>
              <a:defRPr sz="4000" b="1">
                <a:solidFill>
                  <a:srgbClr val="002060"/>
                </a:solidFill>
              </a:defRPr>
            </a:lvl2pPr>
            <a:lvl3pPr>
              <a:defRPr sz="4000" b="1">
                <a:solidFill>
                  <a:srgbClr val="002060"/>
                </a:solidFill>
              </a:defRPr>
            </a:lvl3pPr>
            <a:lvl4pPr>
              <a:defRPr sz="4000" b="1">
                <a:solidFill>
                  <a:srgbClr val="002060"/>
                </a:solidFill>
              </a:defRPr>
            </a:lvl4pPr>
            <a:lvl5pPr>
              <a:defRPr sz="4000" b="1">
                <a:solidFill>
                  <a:srgbClr val="002060"/>
                </a:solidFill>
              </a:defRPr>
            </a:lvl5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56806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Modelo PPT-v3-11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211566" y="96011"/>
            <a:ext cx="7792677" cy="534640"/>
          </a:xfrm>
          <a:prstGeom prst="rect">
            <a:avLst/>
          </a:prstGeom>
        </p:spPr>
        <p:txBody>
          <a:bodyPr/>
          <a:lstStyle>
            <a:lvl1pPr>
              <a:defRPr lang="es-ES_tradnl"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9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1146759" y="87855"/>
            <a:ext cx="0" cy="542796"/>
          </a:xfrm>
          <a:prstGeom prst="line">
            <a:avLst/>
          </a:prstGeom>
          <a:solidFill>
            <a:srgbClr val="254A8D"/>
          </a:solidFill>
          <a:ln w="57150">
            <a:solidFill>
              <a:srgbClr val="448D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199719" y="87726"/>
            <a:ext cx="882234" cy="542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500" b="1">
                <a:solidFill>
                  <a:srgbClr val="448D4E"/>
                </a:solidFill>
              </a:defRPr>
            </a:lvl1pPr>
            <a:lvl2pPr>
              <a:defRPr sz="4000" b="1">
                <a:solidFill>
                  <a:srgbClr val="002060"/>
                </a:solidFill>
              </a:defRPr>
            </a:lvl2pPr>
            <a:lvl3pPr>
              <a:defRPr sz="4000" b="1">
                <a:solidFill>
                  <a:srgbClr val="002060"/>
                </a:solidFill>
              </a:defRPr>
            </a:lvl3pPr>
            <a:lvl4pPr>
              <a:defRPr sz="4000" b="1">
                <a:solidFill>
                  <a:srgbClr val="002060"/>
                </a:solidFill>
              </a:defRPr>
            </a:lvl4pPr>
            <a:lvl5pPr>
              <a:defRPr sz="4000" b="1">
                <a:solidFill>
                  <a:srgbClr val="002060"/>
                </a:solidFill>
              </a:defRPr>
            </a:lvl5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903345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Modelo PPT-v3-11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211566" y="96011"/>
            <a:ext cx="7792677" cy="5346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s-ES_tradnl"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9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1146759" y="87855"/>
            <a:ext cx="0" cy="542796"/>
          </a:xfrm>
          <a:prstGeom prst="line">
            <a:avLst/>
          </a:prstGeom>
          <a:solidFill>
            <a:srgbClr val="254A8D"/>
          </a:solidFill>
          <a:ln w="57150">
            <a:solidFill>
              <a:srgbClr val="448D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199719" y="87726"/>
            <a:ext cx="882234" cy="542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500" b="1">
                <a:solidFill>
                  <a:srgbClr val="5FB34D"/>
                </a:solidFill>
              </a:defRPr>
            </a:lvl1pPr>
            <a:lvl2pPr>
              <a:defRPr sz="4000" b="1">
                <a:solidFill>
                  <a:srgbClr val="002060"/>
                </a:solidFill>
              </a:defRPr>
            </a:lvl2pPr>
            <a:lvl3pPr>
              <a:defRPr sz="4000" b="1">
                <a:solidFill>
                  <a:srgbClr val="002060"/>
                </a:solidFill>
              </a:defRPr>
            </a:lvl3pPr>
            <a:lvl4pPr>
              <a:defRPr sz="4000" b="1">
                <a:solidFill>
                  <a:srgbClr val="002060"/>
                </a:solidFill>
              </a:defRPr>
            </a:lvl4pPr>
            <a:lvl5pPr>
              <a:defRPr sz="4000" b="1">
                <a:solidFill>
                  <a:srgbClr val="002060"/>
                </a:solidFill>
              </a:defRPr>
            </a:lvl5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993271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Modelo PPT-v3-11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211566" y="96011"/>
            <a:ext cx="7792677" cy="5346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s-ES_tradnl"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9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1146759" y="87855"/>
            <a:ext cx="0" cy="542796"/>
          </a:xfrm>
          <a:prstGeom prst="line">
            <a:avLst/>
          </a:prstGeom>
          <a:solidFill>
            <a:srgbClr val="254A8D"/>
          </a:solidFill>
          <a:ln w="571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199719" y="87726"/>
            <a:ext cx="882234" cy="542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500" b="1">
                <a:solidFill>
                  <a:srgbClr val="ED7D31"/>
                </a:solidFill>
              </a:defRPr>
            </a:lvl1pPr>
            <a:lvl2pPr>
              <a:defRPr sz="4000" b="1">
                <a:solidFill>
                  <a:srgbClr val="002060"/>
                </a:solidFill>
              </a:defRPr>
            </a:lvl2pPr>
            <a:lvl3pPr>
              <a:defRPr sz="4000" b="1">
                <a:solidFill>
                  <a:srgbClr val="002060"/>
                </a:solidFill>
              </a:defRPr>
            </a:lvl3pPr>
            <a:lvl4pPr>
              <a:defRPr sz="4000" b="1">
                <a:solidFill>
                  <a:srgbClr val="002060"/>
                </a:solidFill>
              </a:defRPr>
            </a:lvl4pPr>
            <a:lvl5pPr>
              <a:defRPr sz="4000" b="1">
                <a:solidFill>
                  <a:srgbClr val="002060"/>
                </a:solidFill>
              </a:defRPr>
            </a:lvl5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8128564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28038" y="107965"/>
            <a:ext cx="7572670" cy="5024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s-ES_tradnl"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4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1146759" y="87855"/>
            <a:ext cx="0" cy="542796"/>
          </a:xfrm>
          <a:prstGeom prst="line">
            <a:avLst/>
          </a:prstGeom>
          <a:solidFill>
            <a:srgbClr val="254A8D"/>
          </a:solidFill>
          <a:ln w="57150">
            <a:solidFill>
              <a:srgbClr val="E727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199719" y="87726"/>
            <a:ext cx="882234" cy="542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500" b="1">
                <a:solidFill>
                  <a:srgbClr val="E72772"/>
                </a:solidFill>
              </a:defRPr>
            </a:lvl1pPr>
            <a:lvl2pPr>
              <a:defRPr sz="4000" b="1">
                <a:solidFill>
                  <a:srgbClr val="002060"/>
                </a:solidFill>
              </a:defRPr>
            </a:lvl2pPr>
            <a:lvl3pPr>
              <a:defRPr sz="4000" b="1">
                <a:solidFill>
                  <a:srgbClr val="002060"/>
                </a:solidFill>
              </a:defRPr>
            </a:lvl3pPr>
            <a:lvl4pPr>
              <a:defRPr sz="4000" b="1">
                <a:solidFill>
                  <a:srgbClr val="002060"/>
                </a:solidFill>
              </a:defRPr>
            </a:lvl4pPr>
            <a:lvl5pPr>
              <a:defRPr sz="4000" b="1">
                <a:solidFill>
                  <a:srgbClr val="002060"/>
                </a:solidFill>
              </a:defRPr>
            </a:lvl5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482245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211566" y="96011"/>
            <a:ext cx="7792677" cy="5346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s-ES_tradnl" sz="2500" b="1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5" name="3 Conector recto"/>
          <p:cNvCxnSpPr/>
          <p:nvPr userDrawn="1">
            <p:custDataLst>
              <p:tags r:id="rId1"/>
            </p:custDataLst>
          </p:nvPr>
        </p:nvCxnSpPr>
        <p:spPr>
          <a:xfrm>
            <a:off x="1146759" y="87855"/>
            <a:ext cx="0" cy="542796"/>
          </a:xfrm>
          <a:prstGeom prst="line">
            <a:avLst/>
          </a:prstGeom>
          <a:solidFill>
            <a:srgbClr val="254A8D"/>
          </a:solidFill>
          <a:ln w="5715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199719" y="87726"/>
            <a:ext cx="882234" cy="542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5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4000" b="1">
                <a:solidFill>
                  <a:srgbClr val="002060"/>
                </a:solidFill>
              </a:defRPr>
            </a:lvl2pPr>
            <a:lvl3pPr>
              <a:defRPr sz="4000" b="1">
                <a:solidFill>
                  <a:srgbClr val="002060"/>
                </a:solidFill>
              </a:defRPr>
            </a:lvl3pPr>
            <a:lvl4pPr>
              <a:defRPr sz="4000" b="1">
                <a:solidFill>
                  <a:srgbClr val="002060"/>
                </a:solidFill>
              </a:defRPr>
            </a:lvl4pPr>
            <a:lvl5pPr>
              <a:defRPr sz="4000" b="1">
                <a:solidFill>
                  <a:srgbClr val="002060"/>
                </a:solidFill>
              </a:defRPr>
            </a:lvl5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2417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xfrm>
            <a:off x="8748464" y="4863395"/>
            <a:ext cx="245267" cy="1566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56054475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" name="11 Rectángulo"/>
          <p:cNvSpPr/>
          <p:nvPr userDrawn="1">
            <p:custDataLst>
              <p:tags r:id="rId1"/>
            </p:custDataLst>
          </p:nvPr>
        </p:nvSpPr>
        <p:spPr>
          <a:xfrm>
            <a:off x="0" y="1299172"/>
            <a:ext cx="9144000" cy="194134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s-CO">
              <a:cs typeface="Arial"/>
            </a:endParaRPr>
          </a:p>
        </p:txBody>
      </p:sp>
      <p:cxnSp>
        <p:nvCxnSpPr>
          <p:cNvPr id="4" name="3 Conector recto"/>
          <p:cNvCxnSpPr/>
          <p:nvPr userDrawn="1">
            <p:custDataLst>
              <p:tags r:id="rId2"/>
            </p:custDataLst>
          </p:nvPr>
        </p:nvCxnSpPr>
        <p:spPr>
          <a:xfrm>
            <a:off x="2145379" y="1784203"/>
            <a:ext cx="0" cy="895070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Triángulo isósceles"/>
          <p:cNvSpPr/>
          <p:nvPr userDrawn="1">
            <p:custDataLst>
              <p:tags r:id="rId3"/>
            </p:custDataLst>
          </p:nvPr>
        </p:nvSpPr>
        <p:spPr>
          <a:xfrm rot="5400000">
            <a:off x="2111807" y="2111987"/>
            <a:ext cx="330735" cy="239505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593880" y="1784203"/>
            <a:ext cx="6101619" cy="8950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sp>
        <p:nvSpPr>
          <p:cNvPr id="7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85631" y="1649919"/>
            <a:ext cx="1874838" cy="11636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5150182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only">
    <p:bg>
      <p:bgPr>
        <a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 userDrawn="1"/>
        </p:nvSpPr>
        <p:spPr>
          <a:xfrm>
            <a:off x="158478" y="4257175"/>
            <a:ext cx="8985539" cy="8799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5" tIns="34289" rIns="68555" bIns="34289" rtlCol="0" anchor="ctr"/>
          <a:lstStyle/>
          <a:p>
            <a:pPr algn="ctr"/>
            <a:endParaRPr lang="es-CO" sz="1800">
              <a:solidFill>
                <a:prstClr val="white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2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58477" y="48546"/>
            <a:ext cx="8985523" cy="369332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2400" b="1" baseline="0">
                <a:solidFill>
                  <a:srgbClr val="00B0F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Ponga aquí título</a:t>
            </a:r>
          </a:p>
        </p:txBody>
      </p:sp>
      <p:sp>
        <p:nvSpPr>
          <p:cNvPr id="8" name="3 Marcador de número de diapositiva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8599115" y="4851624"/>
            <a:ext cx="432048" cy="205978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9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0A26C49-F53D-4C00-B7DE-803A568B7C3F}" type="slidenum">
              <a:rPr lang="es-ES" smtClean="0">
                <a:solidFill>
                  <a:prstClr val="white">
                    <a:lumMod val="50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Marcador de texto 2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58477" y="455739"/>
            <a:ext cx="8709942" cy="24622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1575" b="1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Ponga aquí título</a:t>
            </a:r>
          </a:p>
        </p:txBody>
      </p:sp>
    </p:spTree>
    <p:extLst>
      <p:ext uri="{BB962C8B-B14F-4D97-AF65-F5344CB8AC3E}">
        <p14:creationId xmlns:p14="http://schemas.microsoft.com/office/powerpoint/2010/main" val="4743000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69056"/>
            <a:ext cx="8229600" cy="1131094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943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DEB0A40-735D-42A6-9207-36706CB2DCBF}" type="datetimeFigureOut">
              <a:rPr lang="es-CO" smtClean="0"/>
              <a:t>6/04/2017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2439" y="4803999"/>
            <a:ext cx="276677" cy="246221"/>
          </a:xfrm>
          <a:prstGeom prst="rect">
            <a:avLst/>
          </a:prstGeom>
        </p:spPr>
        <p:txBody>
          <a:bodyPr/>
          <a:lstStyle/>
          <a:p>
            <a:fld id="{83A71AD1-32BC-4F0F-9A04-F58C7991269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29534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93904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lrubiano\Documents\PPT\PPT Presidencia\Plantillas PPT\Arte Separadores PPT-06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17926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8170" y="3075806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 sz="25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114972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Rectángulo 7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9" name="11 Rectángulo"/>
          <p:cNvSpPr/>
          <p:nvPr userDrawn="1">
            <p:custDataLst>
              <p:tags r:id="rId1"/>
            </p:custDataLst>
          </p:nvPr>
        </p:nvSpPr>
        <p:spPr>
          <a:xfrm>
            <a:off x="0" y="1299172"/>
            <a:ext cx="9144000" cy="1941343"/>
          </a:xfrm>
          <a:prstGeom prst="rect">
            <a:avLst/>
          </a:prstGeom>
          <a:solidFill>
            <a:srgbClr val="254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s-CO">
              <a:cs typeface="Arial"/>
            </a:endParaRPr>
          </a:p>
        </p:txBody>
      </p:sp>
      <p:cxnSp>
        <p:nvCxnSpPr>
          <p:cNvPr id="11" name="3 Conector recto"/>
          <p:cNvCxnSpPr/>
          <p:nvPr userDrawn="1">
            <p:custDataLst>
              <p:tags r:id="rId2"/>
            </p:custDataLst>
          </p:nvPr>
        </p:nvCxnSpPr>
        <p:spPr>
          <a:xfrm>
            <a:off x="2145379" y="1784203"/>
            <a:ext cx="0" cy="895070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4 Triángulo isósceles"/>
          <p:cNvSpPr/>
          <p:nvPr userDrawn="1">
            <p:custDataLst>
              <p:tags r:id="rId3"/>
            </p:custDataLst>
          </p:nvPr>
        </p:nvSpPr>
        <p:spPr>
          <a:xfrm rot="5400000">
            <a:off x="2111807" y="2111987"/>
            <a:ext cx="330735" cy="239505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593880" y="1784203"/>
            <a:ext cx="6101619" cy="8950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pic>
        <p:nvPicPr>
          <p:cNvPr id="14" name="Imagen 3" descr="Modelo PPT-v3-11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15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85631" y="1649919"/>
            <a:ext cx="1874838" cy="11636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9051442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0" name="Rectángulo 9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11 Rectángulo"/>
          <p:cNvSpPr/>
          <p:nvPr userDrawn="1">
            <p:custDataLst>
              <p:tags r:id="rId1"/>
            </p:custDataLst>
          </p:nvPr>
        </p:nvSpPr>
        <p:spPr>
          <a:xfrm>
            <a:off x="0" y="1299172"/>
            <a:ext cx="9144000" cy="1941343"/>
          </a:xfrm>
          <a:prstGeom prst="rect">
            <a:avLst/>
          </a:prstGeom>
          <a:solidFill>
            <a:srgbClr val="2DA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s-CO">
              <a:cs typeface="Arial"/>
            </a:endParaRPr>
          </a:p>
        </p:txBody>
      </p:sp>
      <p:cxnSp>
        <p:nvCxnSpPr>
          <p:cNvPr id="13" name="3 Conector recto"/>
          <p:cNvCxnSpPr/>
          <p:nvPr userDrawn="1">
            <p:custDataLst>
              <p:tags r:id="rId2"/>
            </p:custDataLst>
          </p:nvPr>
        </p:nvCxnSpPr>
        <p:spPr>
          <a:xfrm>
            <a:off x="2145379" y="1784203"/>
            <a:ext cx="0" cy="895070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4 Triángulo isósceles"/>
          <p:cNvSpPr/>
          <p:nvPr userDrawn="1">
            <p:custDataLst>
              <p:tags r:id="rId3"/>
            </p:custDataLst>
          </p:nvPr>
        </p:nvSpPr>
        <p:spPr>
          <a:xfrm rot="5400000">
            <a:off x="2111807" y="2111987"/>
            <a:ext cx="330735" cy="239505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593880" y="1784203"/>
            <a:ext cx="6101619" cy="8950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pic>
        <p:nvPicPr>
          <p:cNvPr id="16" name="Imagen 3" descr="Modelo PPT-v3-11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17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85631" y="1649919"/>
            <a:ext cx="1874838" cy="11636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542007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Rectángulo 5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7" name="11 Rectángulo"/>
          <p:cNvSpPr/>
          <p:nvPr userDrawn="1">
            <p:custDataLst>
              <p:tags r:id="rId1"/>
            </p:custDataLst>
          </p:nvPr>
        </p:nvSpPr>
        <p:spPr>
          <a:xfrm>
            <a:off x="0" y="1299172"/>
            <a:ext cx="9144000" cy="1941343"/>
          </a:xfrm>
          <a:prstGeom prst="rect">
            <a:avLst/>
          </a:prstGeom>
          <a:solidFill>
            <a:srgbClr val="00A4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s-CO">
              <a:cs typeface="Arial"/>
            </a:endParaRPr>
          </a:p>
        </p:txBody>
      </p:sp>
      <p:cxnSp>
        <p:nvCxnSpPr>
          <p:cNvPr id="9" name="3 Conector recto"/>
          <p:cNvCxnSpPr/>
          <p:nvPr userDrawn="1">
            <p:custDataLst>
              <p:tags r:id="rId2"/>
            </p:custDataLst>
          </p:nvPr>
        </p:nvCxnSpPr>
        <p:spPr>
          <a:xfrm>
            <a:off x="2145379" y="1784203"/>
            <a:ext cx="0" cy="895070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4 Triángulo isósceles"/>
          <p:cNvSpPr/>
          <p:nvPr userDrawn="1">
            <p:custDataLst>
              <p:tags r:id="rId3"/>
            </p:custDataLst>
          </p:nvPr>
        </p:nvSpPr>
        <p:spPr>
          <a:xfrm rot="5400000">
            <a:off x="2111807" y="2111987"/>
            <a:ext cx="330735" cy="239505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593880" y="1784203"/>
            <a:ext cx="6101619" cy="8950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pic>
        <p:nvPicPr>
          <p:cNvPr id="12" name="Imagen 3" descr="Modelo PPT-v3-11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13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85631" y="1649919"/>
            <a:ext cx="1874838" cy="11636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7169362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5" name="Rectángulo 4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11 Rectángulo"/>
          <p:cNvSpPr/>
          <p:nvPr userDrawn="1">
            <p:custDataLst>
              <p:tags r:id="rId1"/>
            </p:custDataLst>
          </p:nvPr>
        </p:nvSpPr>
        <p:spPr>
          <a:xfrm>
            <a:off x="0" y="1299172"/>
            <a:ext cx="9144000" cy="1941343"/>
          </a:xfrm>
          <a:prstGeom prst="rect">
            <a:avLst/>
          </a:prstGeom>
          <a:solidFill>
            <a:srgbClr val="438D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s-CO">
              <a:cs typeface="Arial"/>
            </a:endParaRPr>
          </a:p>
        </p:txBody>
      </p:sp>
      <p:cxnSp>
        <p:nvCxnSpPr>
          <p:cNvPr id="8" name="3 Conector recto"/>
          <p:cNvCxnSpPr/>
          <p:nvPr userDrawn="1">
            <p:custDataLst>
              <p:tags r:id="rId2"/>
            </p:custDataLst>
          </p:nvPr>
        </p:nvCxnSpPr>
        <p:spPr>
          <a:xfrm>
            <a:off x="2145379" y="1784203"/>
            <a:ext cx="0" cy="895070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4 Triángulo isósceles"/>
          <p:cNvSpPr/>
          <p:nvPr userDrawn="1">
            <p:custDataLst>
              <p:tags r:id="rId3"/>
            </p:custDataLst>
          </p:nvPr>
        </p:nvSpPr>
        <p:spPr>
          <a:xfrm rot="5400000">
            <a:off x="2111807" y="2111987"/>
            <a:ext cx="330735" cy="239505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593880" y="1784203"/>
            <a:ext cx="6101619" cy="8950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pic>
        <p:nvPicPr>
          <p:cNvPr id="11" name="Imagen 3" descr="Modelo PPT-v3-11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12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85631" y="1649919"/>
            <a:ext cx="1874838" cy="11636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17853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Rectángulo 7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9" name="11 Rectángulo"/>
          <p:cNvSpPr/>
          <p:nvPr userDrawn="1">
            <p:custDataLst>
              <p:tags r:id="rId1"/>
            </p:custDataLst>
          </p:nvPr>
        </p:nvSpPr>
        <p:spPr>
          <a:xfrm>
            <a:off x="0" y="1299172"/>
            <a:ext cx="9144000" cy="1941343"/>
          </a:xfrm>
          <a:prstGeom prst="rect">
            <a:avLst/>
          </a:prstGeom>
          <a:solidFill>
            <a:srgbClr val="5FB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s-CO">
              <a:cs typeface="Arial"/>
            </a:endParaRPr>
          </a:p>
        </p:txBody>
      </p:sp>
      <p:cxnSp>
        <p:nvCxnSpPr>
          <p:cNvPr id="11" name="3 Conector recto"/>
          <p:cNvCxnSpPr/>
          <p:nvPr userDrawn="1">
            <p:custDataLst>
              <p:tags r:id="rId2"/>
            </p:custDataLst>
          </p:nvPr>
        </p:nvCxnSpPr>
        <p:spPr>
          <a:xfrm>
            <a:off x="2145379" y="1784203"/>
            <a:ext cx="0" cy="895070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4 Triángulo isósceles"/>
          <p:cNvSpPr/>
          <p:nvPr userDrawn="1">
            <p:custDataLst>
              <p:tags r:id="rId3"/>
            </p:custDataLst>
          </p:nvPr>
        </p:nvSpPr>
        <p:spPr>
          <a:xfrm rot="5400000">
            <a:off x="2111807" y="2111987"/>
            <a:ext cx="330735" cy="239505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593880" y="1784203"/>
            <a:ext cx="6101619" cy="8950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pic>
        <p:nvPicPr>
          <p:cNvPr id="14" name="Imagen 3" descr="Modelo PPT-v3-11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15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85631" y="1649919"/>
            <a:ext cx="1874838" cy="11636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9362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 userDrawn="1"/>
        </p:nvSpPr>
        <p:spPr>
          <a:xfrm>
            <a:off x="-108520" y="0"/>
            <a:ext cx="1944216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Rectángulo 7"/>
          <p:cNvSpPr/>
          <p:nvPr userDrawn="1"/>
        </p:nvSpPr>
        <p:spPr>
          <a:xfrm>
            <a:off x="0" y="0"/>
            <a:ext cx="509666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9" name="11 Rectángulo"/>
          <p:cNvSpPr/>
          <p:nvPr userDrawn="1">
            <p:custDataLst>
              <p:tags r:id="rId1"/>
            </p:custDataLst>
          </p:nvPr>
        </p:nvSpPr>
        <p:spPr>
          <a:xfrm>
            <a:off x="0" y="1299172"/>
            <a:ext cx="9144000" cy="19413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s-CO">
              <a:cs typeface="Arial"/>
            </a:endParaRPr>
          </a:p>
        </p:txBody>
      </p:sp>
      <p:cxnSp>
        <p:nvCxnSpPr>
          <p:cNvPr id="11" name="3 Conector recto"/>
          <p:cNvCxnSpPr/>
          <p:nvPr userDrawn="1">
            <p:custDataLst>
              <p:tags r:id="rId2"/>
            </p:custDataLst>
          </p:nvPr>
        </p:nvCxnSpPr>
        <p:spPr>
          <a:xfrm>
            <a:off x="2145379" y="1784203"/>
            <a:ext cx="0" cy="895070"/>
          </a:xfrm>
          <a:prstGeom prst="line">
            <a:avLst/>
          </a:prstGeom>
          <a:solidFill>
            <a:srgbClr val="254A8D"/>
          </a:solidFill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4 Triángulo isósceles"/>
          <p:cNvSpPr/>
          <p:nvPr userDrawn="1">
            <p:custDataLst>
              <p:tags r:id="rId3"/>
            </p:custDataLst>
          </p:nvPr>
        </p:nvSpPr>
        <p:spPr>
          <a:xfrm rot="5400000">
            <a:off x="2111807" y="2111987"/>
            <a:ext cx="330735" cy="239505"/>
          </a:xfrm>
          <a:prstGeom prst="triangle">
            <a:avLst/>
          </a:prstGeom>
          <a:solidFill>
            <a:schemeClr val="bg1"/>
          </a:solidFill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rtlCol="0" anchor="ctr"/>
          <a:lstStyle/>
          <a:p>
            <a:pPr algn="ctr"/>
            <a:endParaRPr lang="es-CO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593880" y="1784203"/>
            <a:ext cx="6101619" cy="8950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pic>
        <p:nvPicPr>
          <p:cNvPr id="14" name="Imagen 3" descr="Modelo PPT-v3-11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448" y="4726305"/>
            <a:ext cx="1749343" cy="417195"/>
          </a:xfrm>
          <a:prstGeom prst="rect">
            <a:avLst/>
          </a:prstGeom>
        </p:spPr>
      </p:pic>
      <p:sp>
        <p:nvSpPr>
          <p:cNvPr id="15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85631" y="1649919"/>
            <a:ext cx="1874838" cy="11636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90635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9.jpe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5 Imagen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835" y="-1404"/>
            <a:ext cx="146283" cy="5143500"/>
          </a:xfrm>
          <a:prstGeom prst="rect">
            <a:avLst/>
          </a:prstGeom>
        </p:spPr>
      </p:pic>
      <p:pic>
        <p:nvPicPr>
          <p:cNvPr id="7" name="Imagen 3" descr="Modelo PPT-v3-11.jpg"/>
          <p:cNvPicPr>
            <a:picLocks noChangeAspect="1"/>
          </p:cNvPicPr>
          <p:nvPr userDrawn="1"/>
        </p:nvPicPr>
        <p:blipFill rotWithShape="1"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6638" y="4724901"/>
            <a:ext cx="1749343" cy="417195"/>
          </a:xfrm>
          <a:prstGeom prst="rect">
            <a:avLst/>
          </a:prstGeom>
        </p:spPr>
      </p:pic>
      <p:sp>
        <p:nvSpPr>
          <p:cNvPr id="2" name="Rectángulo 1"/>
          <p:cNvSpPr/>
          <p:nvPr userDrawn="1"/>
        </p:nvSpPr>
        <p:spPr>
          <a:xfrm>
            <a:off x="8603814" y="4787304"/>
            <a:ext cx="510524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10A26C49-F53D-4C00-B7DE-803A568B7C3F}" type="slidenum">
              <a:rPr lang="es-ES" sz="1300" smtClean="0">
                <a:solidFill>
                  <a:prstClr val="white">
                    <a:lumMod val="50000"/>
                  </a:prstClr>
                </a:solidFill>
              </a:rPr>
              <a:pPr algn="r"/>
              <a:t>‹Nº›</a:t>
            </a:fld>
            <a:endParaRPr lang="es-ES_tradnl" sz="1300" dirty="0"/>
          </a:p>
        </p:txBody>
      </p:sp>
    </p:spTree>
    <p:extLst>
      <p:ext uri="{BB962C8B-B14F-4D97-AF65-F5344CB8AC3E}">
        <p14:creationId xmlns:p14="http://schemas.microsoft.com/office/powerpoint/2010/main" val="215277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655" r:id="rId2"/>
    <p:sldLayoutId id="2147483676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697" r:id="rId29"/>
    <p:sldLayoutId id="2147483761" r:id="rId30"/>
    <p:sldLayoutId id="2147483764" r:id="rId3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1854313" y="3505966"/>
            <a:ext cx="542677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sz="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Para uso restringido GRUPO ENERGÍA DE BOGOTÁ</a:t>
            </a:r>
            <a:r>
              <a:rPr lang="es-MX" sz="8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 S.A. ESP. </a:t>
            </a:r>
            <a:r>
              <a:rPr lang="es-MX" sz="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Todos los derechos reservados. Ninguna parte de esta presentación puede ser reproducida o utilizada en ninguna forma o por ningún medio sin permiso explícito de GRUPO ENERGÍA DE BOGOTÁ</a:t>
            </a:r>
            <a:r>
              <a:rPr lang="es-MX" sz="8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 </a:t>
            </a:r>
            <a:r>
              <a:rPr lang="es-MX" sz="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S.A ESP.</a:t>
            </a:r>
            <a:endParaRPr lang="es-ES" sz="800" kern="12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2" name="11 Imagen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835" y="-1404"/>
            <a:ext cx="146283" cy="5143500"/>
          </a:xfrm>
          <a:prstGeom prst="rect">
            <a:avLst/>
          </a:prstGeom>
        </p:spPr>
      </p:pic>
      <p:pic>
        <p:nvPicPr>
          <p:cNvPr id="6" name="Imagen 3" descr="Modelo PPT-v3-11.jp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6960" y="2355298"/>
            <a:ext cx="4004323" cy="783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05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8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394870" y="163924"/>
            <a:ext cx="8550186" cy="502445"/>
          </a:xfrm>
        </p:spPr>
        <p:txBody>
          <a:bodyPr/>
          <a:lstStyle/>
          <a:p>
            <a:r>
              <a:rPr lang="es-ES_tradnl" dirty="0"/>
              <a:t>GEB - PEC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36512" y="-9214"/>
            <a:ext cx="5040560" cy="5211198"/>
          </a:xfrm>
          <a:prstGeom prst="rect">
            <a:avLst/>
          </a:prstGeom>
        </p:spPr>
      </p:pic>
      <p:sp>
        <p:nvSpPr>
          <p:cNvPr id="8" name="Título 3"/>
          <p:cNvSpPr txBox="1">
            <a:spLocks/>
          </p:cNvSpPr>
          <p:nvPr/>
        </p:nvSpPr>
        <p:spPr>
          <a:xfrm>
            <a:off x="5508104" y="771550"/>
            <a:ext cx="3312368" cy="6480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r>
              <a:rPr lang="es-ES_tradnl" sz="2800" dirty="0"/>
              <a:t>Evento subestación Mocoa 230 </a:t>
            </a:r>
            <a:r>
              <a:rPr lang="es-ES_tradnl" sz="2800" dirty="0" err="1"/>
              <a:t>kV</a:t>
            </a:r>
            <a:endParaRPr lang="es-ES_tradnl" sz="2800" dirty="0"/>
          </a:p>
          <a:p>
            <a:pPr algn="ctr"/>
            <a:r>
              <a:rPr lang="es-ES_tradnl" sz="2800" dirty="0"/>
              <a:t>PLAN DE CONTINGENCIA</a:t>
            </a:r>
          </a:p>
        </p:txBody>
      </p:sp>
      <p:sp>
        <p:nvSpPr>
          <p:cNvPr id="9" name="Marcador de texto 5"/>
          <p:cNvSpPr txBox="1">
            <a:spLocks/>
          </p:cNvSpPr>
          <p:nvPr/>
        </p:nvSpPr>
        <p:spPr>
          <a:xfrm>
            <a:off x="6804248" y="3510508"/>
            <a:ext cx="1169368" cy="37465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2400" dirty="0"/>
              <a:t>2017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4827" y="4138429"/>
            <a:ext cx="2765087" cy="506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908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/>
              <a:t>SOLUCIONES PROVISIONALES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CO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0148629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SOLUCIONES PROVISIONALES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CO" dirty="0"/>
              <a:t>3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467544" y="4083918"/>
            <a:ext cx="78488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/>
              <a:t>La subestación Móvil, se instala sobre los vanos de 463 -10 y 463 -11 de línea Altamira Mocoa a 230 </a:t>
            </a:r>
            <a:r>
              <a:rPr lang="es-CO" dirty="0" err="1"/>
              <a:t>kV</a:t>
            </a:r>
            <a:r>
              <a:rPr lang="es-CO" dirty="0"/>
              <a:t> este circuito se energiza desde Altamira en 115 </a:t>
            </a:r>
            <a:r>
              <a:rPr lang="es-CO" dirty="0" err="1"/>
              <a:t>kV</a:t>
            </a:r>
            <a:r>
              <a:rPr lang="es-CO" dirty="0"/>
              <a:t>.</a:t>
            </a: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555526"/>
            <a:ext cx="6696744" cy="341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1 Título"/>
          <p:cNvSpPr txBox="1">
            <a:spLocks/>
          </p:cNvSpPr>
          <p:nvPr/>
        </p:nvSpPr>
        <p:spPr>
          <a:xfrm>
            <a:off x="1187624" y="627534"/>
            <a:ext cx="7792677" cy="5346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CO" dirty="0">
                <a:solidFill>
                  <a:schemeClr val="bg1"/>
                </a:solidFill>
              </a:rPr>
              <a:t>CONEXIÓN EN 115kV para S/E Móvil</a:t>
            </a:r>
          </a:p>
        </p:txBody>
      </p:sp>
    </p:spTree>
    <p:extLst>
      <p:ext uri="{BB962C8B-B14F-4D97-AF65-F5344CB8AC3E}">
        <p14:creationId xmlns:p14="http://schemas.microsoft.com/office/powerpoint/2010/main" val="33897689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SOLUCIONES PROVISIONALES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CO" dirty="0"/>
              <a:t>3</a:t>
            </a:r>
          </a:p>
        </p:txBody>
      </p:sp>
      <p:sp>
        <p:nvSpPr>
          <p:cNvPr id="7" name="CuadroTexto 4"/>
          <p:cNvSpPr txBox="1"/>
          <p:nvPr/>
        </p:nvSpPr>
        <p:spPr>
          <a:xfrm>
            <a:off x="899592" y="676956"/>
            <a:ext cx="1202087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ESQUEMA DE RECONFIGURACIÓN SUBESTACION MOCOA (2)</a:t>
            </a:r>
          </a:p>
          <a:p>
            <a:r>
              <a:rPr lang="es-CO" sz="2000" b="1" dirty="0"/>
              <a:t>CONEXIÓN CON LT 115 </a:t>
            </a:r>
            <a:r>
              <a:rPr lang="es-CO" sz="2000" b="1" dirty="0" err="1"/>
              <a:t>kV</a:t>
            </a:r>
            <a:r>
              <a:rPr lang="es-CO" sz="2000" b="1" dirty="0"/>
              <a:t> a PUERTO CAICEDO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4794078" y="1384842"/>
            <a:ext cx="4026339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sz="2000" dirty="0"/>
              <a:t>A través de la Línea reconfigurada a Altamira (1) a 115kV, energizar la templa de la barra de transferencia de la colapsada 230kV.</a:t>
            </a:r>
          </a:p>
          <a:p>
            <a:pPr marL="342900" indent="-342900" algn="just">
              <a:buAutoNum type="arabicPeriod"/>
            </a:pPr>
            <a:r>
              <a:rPr lang="es-CO" sz="2000" dirty="0"/>
              <a:t>En el pórtico de 230kV (2) se tenderá una templa o habilitar conexionado para integrarla hasta la bahía del </a:t>
            </a:r>
            <a:r>
              <a:rPr lang="es-CO" sz="2000" dirty="0" err="1"/>
              <a:t>ATR</a:t>
            </a:r>
            <a:r>
              <a:rPr lang="es-CO" sz="2000" dirty="0"/>
              <a:t>. (3)</a:t>
            </a:r>
          </a:p>
          <a:p>
            <a:pPr marL="342900" indent="-342900" algn="just">
              <a:buAutoNum type="arabicPeriod"/>
            </a:pPr>
            <a:r>
              <a:rPr lang="es-CO" sz="2000" dirty="0"/>
              <a:t>Se habilitará la templa que esta entre el patio de 230 y 115kV.(4)</a:t>
            </a:r>
          </a:p>
          <a:p>
            <a:pPr marL="342900" indent="-342900" algn="just">
              <a:buAutoNum type="arabicPeriod"/>
            </a:pPr>
            <a:endParaRPr lang="es-CO" sz="1600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67" y="1491630"/>
            <a:ext cx="4608512" cy="2546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43475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/>
              <a:t>CRONOGRAMA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CO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502752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CRONOGRAMA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CO" dirty="0"/>
              <a:t>4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26713"/>
            <a:ext cx="8784976" cy="31706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75486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93539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CONTENIDO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4"/>
          </p:nvPr>
        </p:nvSpPr>
        <p:spPr>
          <a:xfrm>
            <a:off x="4655319" y="1419622"/>
            <a:ext cx="4488681" cy="3101975"/>
          </a:xfrm>
        </p:spPr>
        <p:txBody>
          <a:bodyPr/>
          <a:lstStyle/>
          <a:p>
            <a:r>
              <a:rPr lang="es-CO" sz="2000" dirty="0"/>
              <a:t>DESCRIPCIÓN DEL EVENTO</a:t>
            </a:r>
          </a:p>
          <a:p>
            <a:r>
              <a:rPr lang="es-CO" sz="2000" dirty="0"/>
              <a:t>PLAN DE CONTINGENCIA</a:t>
            </a:r>
          </a:p>
          <a:p>
            <a:r>
              <a:rPr lang="es-CO" sz="2000" dirty="0"/>
              <a:t>SOLUCIONES PROVISIONALES</a:t>
            </a:r>
          </a:p>
          <a:p>
            <a:r>
              <a:rPr lang="es-CO" sz="2000" dirty="0"/>
              <a:t>CRONOGRAMA</a:t>
            </a:r>
          </a:p>
          <a:p>
            <a:r>
              <a:rPr lang="es-CO" sz="2000" dirty="0"/>
              <a:t>SEGUROS</a:t>
            </a:r>
          </a:p>
          <a:p>
            <a:r>
              <a:rPr lang="es-CO" sz="2000" dirty="0"/>
              <a:t>REGULATORIO</a:t>
            </a:r>
          </a:p>
          <a:p>
            <a:r>
              <a:rPr lang="es-CO" sz="2000" dirty="0"/>
              <a:t>CONSTRUCCIÓN MOCOA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CO" dirty="0"/>
              <a:t>0</a:t>
            </a:r>
          </a:p>
        </p:txBody>
      </p:sp>
      <p:pic>
        <p:nvPicPr>
          <p:cNvPr id="7171" name="Picture 3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76" r="26476"/>
          <a:stretch>
            <a:fillRect/>
          </a:stretch>
        </p:blipFill>
        <p:spPr bwMode="auto">
          <a:xfrm>
            <a:off x="-108520" y="-17782"/>
            <a:ext cx="4464496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72985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b="1" dirty="0"/>
              <a:t>DESCRIPCIÓN DEL EVENT</a:t>
            </a:r>
            <a:r>
              <a:rPr lang="es-CO" dirty="0"/>
              <a:t>O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CO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375429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fld id="{83A71AD1-32BC-4F0F-9A04-F58C79912691}" type="slidenum">
              <a:rPr lang="es-CO" smtClean="0"/>
              <a:t>4</a:t>
            </a:fld>
            <a:endParaRPr lang="es-CO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z="24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DESCRIPCIÓN DEL EVENTO</a:t>
            </a:r>
          </a:p>
        </p:txBody>
      </p:sp>
      <p:sp>
        <p:nvSpPr>
          <p:cNvPr id="2" name="1 Marcador de texto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CO" dirty="0"/>
              <a:t>1</a:t>
            </a:r>
          </a:p>
        </p:txBody>
      </p:sp>
      <p:pic>
        <p:nvPicPr>
          <p:cNvPr id="7" name="6 Marcador de contenido"/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900" y="826770"/>
            <a:ext cx="6962775" cy="3943350"/>
          </a:xfrm>
          <a:prstGeom prst="rect">
            <a:avLst/>
          </a:prstGeom>
        </p:spPr>
      </p:pic>
      <p:sp>
        <p:nvSpPr>
          <p:cNvPr id="9" name="8 Rectángulo"/>
          <p:cNvSpPr/>
          <p:nvPr/>
        </p:nvSpPr>
        <p:spPr>
          <a:xfrm rot="19736650">
            <a:off x="3451510" y="1707654"/>
            <a:ext cx="216024" cy="288032"/>
          </a:xfrm>
          <a:prstGeom prst="rect">
            <a:avLst/>
          </a:prstGeom>
          <a:noFill/>
          <a:ln w="25400" cap="flat">
            <a:solidFill>
              <a:srgbClr val="FFFF00"/>
            </a:solidFill>
            <a:prstDash val="sysDot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spc="0" normalizeH="0" baseline="0">
              <a:ln>
                <a:noFill/>
              </a:ln>
              <a:solidFill>
                <a:srgbClr val="595959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9" name="28 Grupo"/>
          <p:cNvGrpSpPr/>
          <p:nvPr/>
        </p:nvGrpSpPr>
        <p:grpSpPr>
          <a:xfrm>
            <a:off x="2800201" y="838200"/>
            <a:ext cx="1154596" cy="2979428"/>
            <a:chOff x="2800201" y="838200"/>
            <a:chExt cx="1154596" cy="2979428"/>
          </a:xfrm>
        </p:grpSpPr>
        <p:sp>
          <p:nvSpPr>
            <p:cNvPr id="10" name="9 Forma libre"/>
            <p:cNvSpPr/>
            <p:nvPr/>
          </p:nvSpPr>
          <p:spPr>
            <a:xfrm>
              <a:off x="2800201" y="838200"/>
              <a:ext cx="1154596" cy="2979428"/>
            </a:xfrm>
            <a:custGeom>
              <a:avLst/>
              <a:gdLst>
                <a:gd name="connsiteX0" fmla="*/ 3959 w 1131719"/>
                <a:gd name="connsiteY0" fmla="*/ 0 h 2590800"/>
                <a:gd name="connsiteX1" fmla="*/ 34439 w 1131719"/>
                <a:gd name="connsiteY1" fmla="*/ 76200 h 2590800"/>
                <a:gd name="connsiteX2" fmla="*/ 255419 w 1131719"/>
                <a:gd name="connsiteY2" fmla="*/ 205740 h 2590800"/>
                <a:gd name="connsiteX3" fmla="*/ 316379 w 1131719"/>
                <a:gd name="connsiteY3" fmla="*/ 228600 h 2590800"/>
                <a:gd name="connsiteX4" fmla="*/ 316379 w 1131719"/>
                <a:gd name="connsiteY4" fmla="*/ 281940 h 2590800"/>
                <a:gd name="connsiteX5" fmla="*/ 354479 w 1131719"/>
                <a:gd name="connsiteY5" fmla="*/ 411480 h 2590800"/>
                <a:gd name="connsiteX6" fmla="*/ 323999 w 1131719"/>
                <a:gd name="connsiteY6" fmla="*/ 518160 h 2590800"/>
                <a:gd name="connsiteX7" fmla="*/ 346859 w 1131719"/>
                <a:gd name="connsiteY7" fmla="*/ 640080 h 2590800"/>
                <a:gd name="connsiteX8" fmla="*/ 415439 w 1131719"/>
                <a:gd name="connsiteY8" fmla="*/ 777240 h 2590800"/>
                <a:gd name="connsiteX9" fmla="*/ 461159 w 1131719"/>
                <a:gd name="connsiteY9" fmla="*/ 891540 h 2590800"/>
                <a:gd name="connsiteX10" fmla="*/ 552599 w 1131719"/>
                <a:gd name="connsiteY10" fmla="*/ 982980 h 2590800"/>
                <a:gd name="connsiteX11" fmla="*/ 590699 w 1131719"/>
                <a:gd name="connsiteY11" fmla="*/ 1043940 h 2590800"/>
                <a:gd name="connsiteX12" fmla="*/ 613559 w 1131719"/>
                <a:gd name="connsiteY12" fmla="*/ 1181100 h 2590800"/>
                <a:gd name="connsiteX13" fmla="*/ 613559 w 1131719"/>
                <a:gd name="connsiteY13" fmla="*/ 1310640 h 2590800"/>
                <a:gd name="connsiteX14" fmla="*/ 674519 w 1131719"/>
                <a:gd name="connsiteY14" fmla="*/ 1363980 h 2590800"/>
                <a:gd name="connsiteX15" fmla="*/ 697379 w 1131719"/>
                <a:gd name="connsiteY15" fmla="*/ 1455420 h 2590800"/>
                <a:gd name="connsiteX16" fmla="*/ 735479 w 1131719"/>
                <a:gd name="connsiteY16" fmla="*/ 1516380 h 2590800"/>
                <a:gd name="connsiteX17" fmla="*/ 758339 w 1131719"/>
                <a:gd name="connsiteY17" fmla="*/ 1607820 h 2590800"/>
                <a:gd name="connsiteX18" fmla="*/ 826919 w 1131719"/>
                <a:gd name="connsiteY18" fmla="*/ 1714500 h 2590800"/>
                <a:gd name="connsiteX19" fmla="*/ 826919 w 1131719"/>
                <a:gd name="connsiteY19" fmla="*/ 1775460 h 2590800"/>
                <a:gd name="connsiteX20" fmla="*/ 872639 w 1131719"/>
                <a:gd name="connsiteY20" fmla="*/ 1859280 h 2590800"/>
                <a:gd name="connsiteX21" fmla="*/ 918359 w 1131719"/>
                <a:gd name="connsiteY21" fmla="*/ 1927860 h 2590800"/>
                <a:gd name="connsiteX22" fmla="*/ 994559 w 1131719"/>
                <a:gd name="connsiteY22" fmla="*/ 2019300 h 2590800"/>
                <a:gd name="connsiteX23" fmla="*/ 1047899 w 1131719"/>
                <a:gd name="connsiteY23" fmla="*/ 2065020 h 2590800"/>
                <a:gd name="connsiteX24" fmla="*/ 1063139 w 1131719"/>
                <a:gd name="connsiteY24" fmla="*/ 2194560 h 2590800"/>
                <a:gd name="connsiteX25" fmla="*/ 1047899 w 1131719"/>
                <a:gd name="connsiteY25" fmla="*/ 2286000 h 2590800"/>
                <a:gd name="connsiteX26" fmla="*/ 1047899 w 1131719"/>
                <a:gd name="connsiteY26" fmla="*/ 2407920 h 2590800"/>
                <a:gd name="connsiteX27" fmla="*/ 1055519 w 1131719"/>
                <a:gd name="connsiteY27" fmla="*/ 2491740 h 2590800"/>
                <a:gd name="connsiteX28" fmla="*/ 1116479 w 1131719"/>
                <a:gd name="connsiteY28" fmla="*/ 2567940 h 2590800"/>
                <a:gd name="connsiteX29" fmla="*/ 1131719 w 1131719"/>
                <a:gd name="connsiteY29" fmla="*/ 2590800 h 2590800"/>
                <a:gd name="connsiteX0" fmla="*/ 3959 w 1131866"/>
                <a:gd name="connsiteY0" fmla="*/ 0 h 2591267"/>
                <a:gd name="connsiteX1" fmla="*/ 34439 w 1131866"/>
                <a:gd name="connsiteY1" fmla="*/ 76200 h 2591267"/>
                <a:gd name="connsiteX2" fmla="*/ 255419 w 1131866"/>
                <a:gd name="connsiteY2" fmla="*/ 205740 h 2591267"/>
                <a:gd name="connsiteX3" fmla="*/ 316379 w 1131866"/>
                <a:gd name="connsiteY3" fmla="*/ 228600 h 2591267"/>
                <a:gd name="connsiteX4" fmla="*/ 316379 w 1131866"/>
                <a:gd name="connsiteY4" fmla="*/ 281940 h 2591267"/>
                <a:gd name="connsiteX5" fmla="*/ 354479 w 1131866"/>
                <a:gd name="connsiteY5" fmla="*/ 411480 h 2591267"/>
                <a:gd name="connsiteX6" fmla="*/ 323999 w 1131866"/>
                <a:gd name="connsiteY6" fmla="*/ 518160 h 2591267"/>
                <a:gd name="connsiteX7" fmla="*/ 346859 w 1131866"/>
                <a:gd name="connsiteY7" fmla="*/ 640080 h 2591267"/>
                <a:gd name="connsiteX8" fmla="*/ 415439 w 1131866"/>
                <a:gd name="connsiteY8" fmla="*/ 777240 h 2591267"/>
                <a:gd name="connsiteX9" fmla="*/ 461159 w 1131866"/>
                <a:gd name="connsiteY9" fmla="*/ 891540 h 2591267"/>
                <a:gd name="connsiteX10" fmla="*/ 552599 w 1131866"/>
                <a:gd name="connsiteY10" fmla="*/ 982980 h 2591267"/>
                <a:gd name="connsiteX11" fmla="*/ 590699 w 1131866"/>
                <a:gd name="connsiteY11" fmla="*/ 1043940 h 2591267"/>
                <a:gd name="connsiteX12" fmla="*/ 613559 w 1131866"/>
                <a:gd name="connsiteY12" fmla="*/ 1181100 h 2591267"/>
                <a:gd name="connsiteX13" fmla="*/ 613559 w 1131866"/>
                <a:gd name="connsiteY13" fmla="*/ 1310640 h 2591267"/>
                <a:gd name="connsiteX14" fmla="*/ 674519 w 1131866"/>
                <a:gd name="connsiteY14" fmla="*/ 1363980 h 2591267"/>
                <a:gd name="connsiteX15" fmla="*/ 697379 w 1131866"/>
                <a:gd name="connsiteY15" fmla="*/ 1455420 h 2591267"/>
                <a:gd name="connsiteX16" fmla="*/ 735479 w 1131866"/>
                <a:gd name="connsiteY16" fmla="*/ 1516380 h 2591267"/>
                <a:gd name="connsiteX17" fmla="*/ 758339 w 1131866"/>
                <a:gd name="connsiteY17" fmla="*/ 1607820 h 2591267"/>
                <a:gd name="connsiteX18" fmla="*/ 826919 w 1131866"/>
                <a:gd name="connsiteY18" fmla="*/ 1714500 h 2591267"/>
                <a:gd name="connsiteX19" fmla="*/ 826919 w 1131866"/>
                <a:gd name="connsiteY19" fmla="*/ 1775460 h 2591267"/>
                <a:gd name="connsiteX20" fmla="*/ 872639 w 1131866"/>
                <a:gd name="connsiteY20" fmla="*/ 1859280 h 2591267"/>
                <a:gd name="connsiteX21" fmla="*/ 918359 w 1131866"/>
                <a:gd name="connsiteY21" fmla="*/ 1927860 h 2591267"/>
                <a:gd name="connsiteX22" fmla="*/ 994559 w 1131866"/>
                <a:gd name="connsiteY22" fmla="*/ 2019300 h 2591267"/>
                <a:gd name="connsiteX23" fmla="*/ 1047899 w 1131866"/>
                <a:gd name="connsiteY23" fmla="*/ 2065020 h 2591267"/>
                <a:gd name="connsiteX24" fmla="*/ 1063139 w 1131866"/>
                <a:gd name="connsiteY24" fmla="*/ 2194560 h 2591267"/>
                <a:gd name="connsiteX25" fmla="*/ 1047899 w 1131866"/>
                <a:gd name="connsiteY25" fmla="*/ 2286000 h 2591267"/>
                <a:gd name="connsiteX26" fmla="*/ 1047899 w 1131866"/>
                <a:gd name="connsiteY26" fmla="*/ 2407920 h 2591267"/>
                <a:gd name="connsiteX27" fmla="*/ 1055519 w 1131866"/>
                <a:gd name="connsiteY27" fmla="*/ 2491740 h 2591267"/>
                <a:gd name="connsiteX28" fmla="*/ 1116479 w 1131866"/>
                <a:gd name="connsiteY28" fmla="*/ 2567940 h 2591267"/>
                <a:gd name="connsiteX29" fmla="*/ 1131719 w 1131866"/>
                <a:gd name="connsiteY29" fmla="*/ 2590800 h 2591267"/>
                <a:gd name="connsiteX30" fmla="*/ 1124099 w 1131866"/>
                <a:gd name="connsiteY30" fmla="*/ 2583180 h 2591267"/>
                <a:gd name="connsiteX0" fmla="*/ 3959 w 1131745"/>
                <a:gd name="connsiteY0" fmla="*/ 0 h 2720354"/>
                <a:gd name="connsiteX1" fmla="*/ 34439 w 1131745"/>
                <a:gd name="connsiteY1" fmla="*/ 76200 h 2720354"/>
                <a:gd name="connsiteX2" fmla="*/ 255419 w 1131745"/>
                <a:gd name="connsiteY2" fmla="*/ 205740 h 2720354"/>
                <a:gd name="connsiteX3" fmla="*/ 316379 w 1131745"/>
                <a:gd name="connsiteY3" fmla="*/ 228600 h 2720354"/>
                <a:gd name="connsiteX4" fmla="*/ 316379 w 1131745"/>
                <a:gd name="connsiteY4" fmla="*/ 281940 h 2720354"/>
                <a:gd name="connsiteX5" fmla="*/ 354479 w 1131745"/>
                <a:gd name="connsiteY5" fmla="*/ 411480 h 2720354"/>
                <a:gd name="connsiteX6" fmla="*/ 323999 w 1131745"/>
                <a:gd name="connsiteY6" fmla="*/ 518160 h 2720354"/>
                <a:gd name="connsiteX7" fmla="*/ 346859 w 1131745"/>
                <a:gd name="connsiteY7" fmla="*/ 640080 h 2720354"/>
                <a:gd name="connsiteX8" fmla="*/ 415439 w 1131745"/>
                <a:gd name="connsiteY8" fmla="*/ 777240 h 2720354"/>
                <a:gd name="connsiteX9" fmla="*/ 461159 w 1131745"/>
                <a:gd name="connsiteY9" fmla="*/ 891540 h 2720354"/>
                <a:gd name="connsiteX10" fmla="*/ 552599 w 1131745"/>
                <a:gd name="connsiteY10" fmla="*/ 982980 h 2720354"/>
                <a:gd name="connsiteX11" fmla="*/ 590699 w 1131745"/>
                <a:gd name="connsiteY11" fmla="*/ 1043940 h 2720354"/>
                <a:gd name="connsiteX12" fmla="*/ 613559 w 1131745"/>
                <a:gd name="connsiteY12" fmla="*/ 1181100 h 2720354"/>
                <a:gd name="connsiteX13" fmla="*/ 613559 w 1131745"/>
                <a:gd name="connsiteY13" fmla="*/ 1310640 h 2720354"/>
                <a:gd name="connsiteX14" fmla="*/ 674519 w 1131745"/>
                <a:gd name="connsiteY14" fmla="*/ 1363980 h 2720354"/>
                <a:gd name="connsiteX15" fmla="*/ 697379 w 1131745"/>
                <a:gd name="connsiteY15" fmla="*/ 1455420 h 2720354"/>
                <a:gd name="connsiteX16" fmla="*/ 735479 w 1131745"/>
                <a:gd name="connsiteY16" fmla="*/ 1516380 h 2720354"/>
                <a:gd name="connsiteX17" fmla="*/ 758339 w 1131745"/>
                <a:gd name="connsiteY17" fmla="*/ 1607820 h 2720354"/>
                <a:gd name="connsiteX18" fmla="*/ 826919 w 1131745"/>
                <a:gd name="connsiteY18" fmla="*/ 1714500 h 2720354"/>
                <a:gd name="connsiteX19" fmla="*/ 826919 w 1131745"/>
                <a:gd name="connsiteY19" fmla="*/ 1775460 h 2720354"/>
                <a:gd name="connsiteX20" fmla="*/ 872639 w 1131745"/>
                <a:gd name="connsiteY20" fmla="*/ 1859280 h 2720354"/>
                <a:gd name="connsiteX21" fmla="*/ 918359 w 1131745"/>
                <a:gd name="connsiteY21" fmla="*/ 1927860 h 2720354"/>
                <a:gd name="connsiteX22" fmla="*/ 994559 w 1131745"/>
                <a:gd name="connsiteY22" fmla="*/ 2019300 h 2720354"/>
                <a:gd name="connsiteX23" fmla="*/ 1047899 w 1131745"/>
                <a:gd name="connsiteY23" fmla="*/ 2065020 h 2720354"/>
                <a:gd name="connsiteX24" fmla="*/ 1063139 w 1131745"/>
                <a:gd name="connsiteY24" fmla="*/ 2194560 h 2720354"/>
                <a:gd name="connsiteX25" fmla="*/ 1047899 w 1131745"/>
                <a:gd name="connsiteY25" fmla="*/ 2286000 h 2720354"/>
                <a:gd name="connsiteX26" fmla="*/ 1047899 w 1131745"/>
                <a:gd name="connsiteY26" fmla="*/ 2407920 h 2720354"/>
                <a:gd name="connsiteX27" fmla="*/ 1055519 w 1131745"/>
                <a:gd name="connsiteY27" fmla="*/ 2491740 h 2720354"/>
                <a:gd name="connsiteX28" fmla="*/ 1116479 w 1131745"/>
                <a:gd name="connsiteY28" fmla="*/ 2567940 h 2720354"/>
                <a:gd name="connsiteX29" fmla="*/ 1131719 w 1131745"/>
                <a:gd name="connsiteY29" fmla="*/ 2590800 h 2720354"/>
                <a:gd name="connsiteX30" fmla="*/ 1085999 w 1131745"/>
                <a:gd name="connsiteY30" fmla="*/ 2720340 h 2720354"/>
                <a:gd name="connsiteX0" fmla="*/ 3959 w 1116960"/>
                <a:gd name="connsiteY0" fmla="*/ 0 h 2849916"/>
                <a:gd name="connsiteX1" fmla="*/ 34439 w 1116960"/>
                <a:gd name="connsiteY1" fmla="*/ 76200 h 2849916"/>
                <a:gd name="connsiteX2" fmla="*/ 255419 w 1116960"/>
                <a:gd name="connsiteY2" fmla="*/ 205740 h 2849916"/>
                <a:gd name="connsiteX3" fmla="*/ 316379 w 1116960"/>
                <a:gd name="connsiteY3" fmla="*/ 228600 h 2849916"/>
                <a:gd name="connsiteX4" fmla="*/ 316379 w 1116960"/>
                <a:gd name="connsiteY4" fmla="*/ 281940 h 2849916"/>
                <a:gd name="connsiteX5" fmla="*/ 354479 w 1116960"/>
                <a:gd name="connsiteY5" fmla="*/ 411480 h 2849916"/>
                <a:gd name="connsiteX6" fmla="*/ 323999 w 1116960"/>
                <a:gd name="connsiteY6" fmla="*/ 518160 h 2849916"/>
                <a:gd name="connsiteX7" fmla="*/ 346859 w 1116960"/>
                <a:gd name="connsiteY7" fmla="*/ 640080 h 2849916"/>
                <a:gd name="connsiteX8" fmla="*/ 415439 w 1116960"/>
                <a:gd name="connsiteY8" fmla="*/ 777240 h 2849916"/>
                <a:gd name="connsiteX9" fmla="*/ 461159 w 1116960"/>
                <a:gd name="connsiteY9" fmla="*/ 891540 h 2849916"/>
                <a:gd name="connsiteX10" fmla="*/ 552599 w 1116960"/>
                <a:gd name="connsiteY10" fmla="*/ 982980 h 2849916"/>
                <a:gd name="connsiteX11" fmla="*/ 590699 w 1116960"/>
                <a:gd name="connsiteY11" fmla="*/ 1043940 h 2849916"/>
                <a:gd name="connsiteX12" fmla="*/ 613559 w 1116960"/>
                <a:gd name="connsiteY12" fmla="*/ 1181100 h 2849916"/>
                <a:gd name="connsiteX13" fmla="*/ 613559 w 1116960"/>
                <a:gd name="connsiteY13" fmla="*/ 1310640 h 2849916"/>
                <a:gd name="connsiteX14" fmla="*/ 674519 w 1116960"/>
                <a:gd name="connsiteY14" fmla="*/ 1363980 h 2849916"/>
                <a:gd name="connsiteX15" fmla="*/ 697379 w 1116960"/>
                <a:gd name="connsiteY15" fmla="*/ 1455420 h 2849916"/>
                <a:gd name="connsiteX16" fmla="*/ 735479 w 1116960"/>
                <a:gd name="connsiteY16" fmla="*/ 1516380 h 2849916"/>
                <a:gd name="connsiteX17" fmla="*/ 758339 w 1116960"/>
                <a:gd name="connsiteY17" fmla="*/ 1607820 h 2849916"/>
                <a:gd name="connsiteX18" fmla="*/ 826919 w 1116960"/>
                <a:gd name="connsiteY18" fmla="*/ 1714500 h 2849916"/>
                <a:gd name="connsiteX19" fmla="*/ 826919 w 1116960"/>
                <a:gd name="connsiteY19" fmla="*/ 1775460 h 2849916"/>
                <a:gd name="connsiteX20" fmla="*/ 872639 w 1116960"/>
                <a:gd name="connsiteY20" fmla="*/ 1859280 h 2849916"/>
                <a:gd name="connsiteX21" fmla="*/ 918359 w 1116960"/>
                <a:gd name="connsiteY21" fmla="*/ 1927860 h 2849916"/>
                <a:gd name="connsiteX22" fmla="*/ 994559 w 1116960"/>
                <a:gd name="connsiteY22" fmla="*/ 2019300 h 2849916"/>
                <a:gd name="connsiteX23" fmla="*/ 1047899 w 1116960"/>
                <a:gd name="connsiteY23" fmla="*/ 2065020 h 2849916"/>
                <a:gd name="connsiteX24" fmla="*/ 1063139 w 1116960"/>
                <a:gd name="connsiteY24" fmla="*/ 2194560 h 2849916"/>
                <a:gd name="connsiteX25" fmla="*/ 1047899 w 1116960"/>
                <a:gd name="connsiteY25" fmla="*/ 2286000 h 2849916"/>
                <a:gd name="connsiteX26" fmla="*/ 1047899 w 1116960"/>
                <a:gd name="connsiteY26" fmla="*/ 2407920 h 2849916"/>
                <a:gd name="connsiteX27" fmla="*/ 1055519 w 1116960"/>
                <a:gd name="connsiteY27" fmla="*/ 2491740 h 2849916"/>
                <a:gd name="connsiteX28" fmla="*/ 1116479 w 1116960"/>
                <a:gd name="connsiteY28" fmla="*/ 2567940 h 2849916"/>
                <a:gd name="connsiteX29" fmla="*/ 1085999 w 1116960"/>
                <a:gd name="connsiteY29" fmla="*/ 2849880 h 2849916"/>
                <a:gd name="connsiteX30" fmla="*/ 1085999 w 1116960"/>
                <a:gd name="connsiteY30" fmla="*/ 2720340 h 2849916"/>
                <a:gd name="connsiteX0" fmla="*/ 3959 w 1116960"/>
                <a:gd name="connsiteY0" fmla="*/ 0 h 2849916"/>
                <a:gd name="connsiteX1" fmla="*/ 34439 w 1116960"/>
                <a:gd name="connsiteY1" fmla="*/ 76200 h 2849916"/>
                <a:gd name="connsiteX2" fmla="*/ 255419 w 1116960"/>
                <a:gd name="connsiteY2" fmla="*/ 205740 h 2849916"/>
                <a:gd name="connsiteX3" fmla="*/ 316379 w 1116960"/>
                <a:gd name="connsiteY3" fmla="*/ 228600 h 2849916"/>
                <a:gd name="connsiteX4" fmla="*/ 316379 w 1116960"/>
                <a:gd name="connsiteY4" fmla="*/ 281940 h 2849916"/>
                <a:gd name="connsiteX5" fmla="*/ 354479 w 1116960"/>
                <a:gd name="connsiteY5" fmla="*/ 411480 h 2849916"/>
                <a:gd name="connsiteX6" fmla="*/ 323999 w 1116960"/>
                <a:gd name="connsiteY6" fmla="*/ 518160 h 2849916"/>
                <a:gd name="connsiteX7" fmla="*/ 346859 w 1116960"/>
                <a:gd name="connsiteY7" fmla="*/ 640080 h 2849916"/>
                <a:gd name="connsiteX8" fmla="*/ 415439 w 1116960"/>
                <a:gd name="connsiteY8" fmla="*/ 777240 h 2849916"/>
                <a:gd name="connsiteX9" fmla="*/ 461159 w 1116960"/>
                <a:gd name="connsiteY9" fmla="*/ 891540 h 2849916"/>
                <a:gd name="connsiteX10" fmla="*/ 552599 w 1116960"/>
                <a:gd name="connsiteY10" fmla="*/ 982980 h 2849916"/>
                <a:gd name="connsiteX11" fmla="*/ 590699 w 1116960"/>
                <a:gd name="connsiteY11" fmla="*/ 1043940 h 2849916"/>
                <a:gd name="connsiteX12" fmla="*/ 613559 w 1116960"/>
                <a:gd name="connsiteY12" fmla="*/ 1181100 h 2849916"/>
                <a:gd name="connsiteX13" fmla="*/ 613559 w 1116960"/>
                <a:gd name="connsiteY13" fmla="*/ 1310640 h 2849916"/>
                <a:gd name="connsiteX14" fmla="*/ 674519 w 1116960"/>
                <a:gd name="connsiteY14" fmla="*/ 1363980 h 2849916"/>
                <a:gd name="connsiteX15" fmla="*/ 697379 w 1116960"/>
                <a:gd name="connsiteY15" fmla="*/ 1455420 h 2849916"/>
                <a:gd name="connsiteX16" fmla="*/ 735479 w 1116960"/>
                <a:gd name="connsiteY16" fmla="*/ 1516380 h 2849916"/>
                <a:gd name="connsiteX17" fmla="*/ 758339 w 1116960"/>
                <a:gd name="connsiteY17" fmla="*/ 1607820 h 2849916"/>
                <a:gd name="connsiteX18" fmla="*/ 826919 w 1116960"/>
                <a:gd name="connsiteY18" fmla="*/ 1714500 h 2849916"/>
                <a:gd name="connsiteX19" fmla="*/ 826919 w 1116960"/>
                <a:gd name="connsiteY19" fmla="*/ 1775460 h 2849916"/>
                <a:gd name="connsiteX20" fmla="*/ 872639 w 1116960"/>
                <a:gd name="connsiteY20" fmla="*/ 1859280 h 2849916"/>
                <a:gd name="connsiteX21" fmla="*/ 918359 w 1116960"/>
                <a:gd name="connsiteY21" fmla="*/ 1927860 h 2849916"/>
                <a:gd name="connsiteX22" fmla="*/ 994559 w 1116960"/>
                <a:gd name="connsiteY22" fmla="*/ 2019300 h 2849916"/>
                <a:gd name="connsiteX23" fmla="*/ 1047899 w 1116960"/>
                <a:gd name="connsiteY23" fmla="*/ 2065020 h 2849916"/>
                <a:gd name="connsiteX24" fmla="*/ 1063139 w 1116960"/>
                <a:gd name="connsiteY24" fmla="*/ 2194560 h 2849916"/>
                <a:gd name="connsiteX25" fmla="*/ 1047899 w 1116960"/>
                <a:gd name="connsiteY25" fmla="*/ 2286000 h 2849916"/>
                <a:gd name="connsiteX26" fmla="*/ 1047899 w 1116960"/>
                <a:gd name="connsiteY26" fmla="*/ 2407920 h 2849916"/>
                <a:gd name="connsiteX27" fmla="*/ 1055519 w 1116960"/>
                <a:gd name="connsiteY27" fmla="*/ 2491740 h 2849916"/>
                <a:gd name="connsiteX28" fmla="*/ 1116479 w 1116960"/>
                <a:gd name="connsiteY28" fmla="*/ 2567940 h 2849916"/>
                <a:gd name="connsiteX29" fmla="*/ 1085999 w 1116960"/>
                <a:gd name="connsiteY29" fmla="*/ 2849880 h 2849916"/>
                <a:gd name="connsiteX30" fmla="*/ 1032659 w 1116960"/>
                <a:gd name="connsiteY30" fmla="*/ 2720340 h 2849916"/>
                <a:gd name="connsiteX0" fmla="*/ 3959 w 1116960"/>
                <a:gd name="connsiteY0" fmla="*/ 0 h 3002292"/>
                <a:gd name="connsiteX1" fmla="*/ 34439 w 1116960"/>
                <a:gd name="connsiteY1" fmla="*/ 76200 h 3002292"/>
                <a:gd name="connsiteX2" fmla="*/ 255419 w 1116960"/>
                <a:gd name="connsiteY2" fmla="*/ 205740 h 3002292"/>
                <a:gd name="connsiteX3" fmla="*/ 316379 w 1116960"/>
                <a:gd name="connsiteY3" fmla="*/ 228600 h 3002292"/>
                <a:gd name="connsiteX4" fmla="*/ 316379 w 1116960"/>
                <a:gd name="connsiteY4" fmla="*/ 281940 h 3002292"/>
                <a:gd name="connsiteX5" fmla="*/ 354479 w 1116960"/>
                <a:gd name="connsiteY5" fmla="*/ 411480 h 3002292"/>
                <a:gd name="connsiteX6" fmla="*/ 323999 w 1116960"/>
                <a:gd name="connsiteY6" fmla="*/ 518160 h 3002292"/>
                <a:gd name="connsiteX7" fmla="*/ 346859 w 1116960"/>
                <a:gd name="connsiteY7" fmla="*/ 640080 h 3002292"/>
                <a:gd name="connsiteX8" fmla="*/ 415439 w 1116960"/>
                <a:gd name="connsiteY8" fmla="*/ 777240 h 3002292"/>
                <a:gd name="connsiteX9" fmla="*/ 461159 w 1116960"/>
                <a:gd name="connsiteY9" fmla="*/ 891540 h 3002292"/>
                <a:gd name="connsiteX10" fmla="*/ 552599 w 1116960"/>
                <a:gd name="connsiteY10" fmla="*/ 982980 h 3002292"/>
                <a:gd name="connsiteX11" fmla="*/ 590699 w 1116960"/>
                <a:gd name="connsiteY11" fmla="*/ 1043940 h 3002292"/>
                <a:gd name="connsiteX12" fmla="*/ 613559 w 1116960"/>
                <a:gd name="connsiteY12" fmla="*/ 1181100 h 3002292"/>
                <a:gd name="connsiteX13" fmla="*/ 613559 w 1116960"/>
                <a:gd name="connsiteY13" fmla="*/ 1310640 h 3002292"/>
                <a:gd name="connsiteX14" fmla="*/ 674519 w 1116960"/>
                <a:gd name="connsiteY14" fmla="*/ 1363980 h 3002292"/>
                <a:gd name="connsiteX15" fmla="*/ 697379 w 1116960"/>
                <a:gd name="connsiteY15" fmla="*/ 1455420 h 3002292"/>
                <a:gd name="connsiteX16" fmla="*/ 735479 w 1116960"/>
                <a:gd name="connsiteY16" fmla="*/ 1516380 h 3002292"/>
                <a:gd name="connsiteX17" fmla="*/ 758339 w 1116960"/>
                <a:gd name="connsiteY17" fmla="*/ 1607820 h 3002292"/>
                <a:gd name="connsiteX18" fmla="*/ 826919 w 1116960"/>
                <a:gd name="connsiteY18" fmla="*/ 1714500 h 3002292"/>
                <a:gd name="connsiteX19" fmla="*/ 826919 w 1116960"/>
                <a:gd name="connsiteY19" fmla="*/ 1775460 h 3002292"/>
                <a:gd name="connsiteX20" fmla="*/ 872639 w 1116960"/>
                <a:gd name="connsiteY20" fmla="*/ 1859280 h 3002292"/>
                <a:gd name="connsiteX21" fmla="*/ 918359 w 1116960"/>
                <a:gd name="connsiteY21" fmla="*/ 1927860 h 3002292"/>
                <a:gd name="connsiteX22" fmla="*/ 994559 w 1116960"/>
                <a:gd name="connsiteY22" fmla="*/ 2019300 h 3002292"/>
                <a:gd name="connsiteX23" fmla="*/ 1047899 w 1116960"/>
                <a:gd name="connsiteY23" fmla="*/ 2065020 h 3002292"/>
                <a:gd name="connsiteX24" fmla="*/ 1063139 w 1116960"/>
                <a:gd name="connsiteY24" fmla="*/ 2194560 h 3002292"/>
                <a:gd name="connsiteX25" fmla="*/ 1047899 w 1116960"/>
                <a:gd name="connsiteY25" fmla="*/ 2286000 h 3002292"/>
                <a:gd name="connsiteX26" fmla="*/ 1047899 w 1116960"/>
                <a:gd name="connsiteY26" fmla="*/ 2407920 h 3002292"/>
                <a:gd name="connsiteX27" fmla="*/ 1055519 w 1116960"/>
                <a:gd name="connsiteY27" fmla="*/ 2491740 h 3002292"/>
                <a:gd name="connsiteX28" fmla="*/ 1116479 w 1116960"/>
                <a:gd name="connsiteY28" fmla="*/ 2567940 h 3002292"/>
                <a:gd name="connsiteX29" fmla="*/ 1085999 w 1116960"/>
                <a:gd name="connsiteY29" fmla="*/ 2849880 h 3002292"/>
                <a:gd name="connsiteX30" fmla="*/ 1108859 w 1116960"/>
                <a:gd name="connsiteY30" fmla="*/ 3002280 h 3002292"/>
                <a:gd name="connsiteX0" fmla="*/ 3959 w 1116502"/>
                <a:gd name="connsiteY0" fmla="*/ 0 h 3002287"/>
                <a:gd name="connsiteX1" fmla="*/ 34439 w 1116502"/>
                <a:gd name="connsiteY1" fmla="*/ 76200 h 3002287"/>
                <a:gd name="connsiteX2" fmla="*/ 255419 w 1116502"/>
                <a:gd name="connsiteY2" fmla="*/ 205740 h 3002287"/>
                <a:gd name="connsiteX3" fmla="*/ 316379 w 1116502"/>
                <a:gd name="connsiteY3" fmla="*/ 228600 h 3002287"/>
                <a:gd name="connsiteX4" fmla="*/ 316379 w 1116502"/>
                <a:gd name="connsiteY4" fmla="*/ 281940 h 3002287"/>
                <a:gd name="connsiteX5" fmla="*/ 354479 w 1116502"/>
                <a:gd name="connsiteY5" fmla="*/ 411480 h 3002287"/>
                <a:gd name="connsiteX6" fmla="*/ 323999 w 1116502"/>
                <a:gd name="connsiteY6" fmla="*/ 518160 h 3002287"/>
                <a:gd name="connsiteX7" fmla="*/ 346859 w 1116502"/>
                <a:gd name="connsiteY7" fmla="*/ 640080 h 3002287"/>
                <a:gd name="connsiteX8" fmla="*/ 415439 w 1116502"/>
                <a:gd name="connsiteY8" fmla="*/ 777240 h 3002287"/>
                <a:gd name="connsiteX9" fmla="*/ 461159 w 1116502"/>
                <a:gd name="connsiteY9" fmla="*/ 891540 h 3002287"/>
                <a:gd name="connsiteX10" fmla="*/ 552599 w 1116502"/>
                <a:gd name="connsiteY10" fmla="*/ 982980 h 3002287"/>
                <a:gd name="connsiteX11" fmla="*/ 590699 w 1116502"/>
                <a:gd name="connsiteY11" fmla="*/ 1043940 h 3002287"/>
                <a:gd name="connsiteX12" fmla="*/ 613559 w 1116502"/>
                <a:gd name="connsiteY12" fmla="*/ 1181100 h 3002287"/>
                <a:gd name="connsiteX13" fmla="*/ 613559 w 1116502"/>
                <a:gd name="connsiteY13" fmla="*/ 1310640 h 3002287"/>
                <a:gd name="connsiteX14" fmla="*/ 674519 w 1116502"/>
                <a:gd name="connsiteY14" fmla="*/ 1363980 h 3002287"/>
                <a:gd name="connsiteX15" fmla="*/ 697379 w 1116502"/>
                <a:gd name="connsiteY15" fmla="*/ 1455420 h 3002287"/>
                <a:gd name="connsiteX16" fmla="*/ 735479 w 1116502"/>
                <a:gd name="connsiteY16" fmla="*/ 1516380 h 3002287"/>
                <a:gd name="connsiteX17" fmla="*/ 758339 w 1116502"/>
                <a:gd name="connsiteY17" fmla="*/ 1607820 h 3002287"/>
                <a:gd name="connsiteX18" fmla="*/ 826919 w 1116502"/>
                <a:gd name="connsiteY18" fmla="*/ 1714500 h 3002287"/>
                <a:gd name="connsiteX19" fmla="*/ 826919 w 1116502"/>
                <a:gd name="connsiteY19" fmla="*/ 1775460 h 3002287"/>
                <a:gd name="connsiteX20" fmla="*/ 872639 w 1116502"/>
                <a:gd name="connsiteY20" fmla="*/ 1859280 h 3002287"/>
                <a:gd name="connsiteX21" fmla="*/ 918359 w 1116502"/>
                <a:gd name="connsiteY21" fmla="*/ 1927860 h 3002287"/>
                <a:gd name="connsiteX22" fmla="*/ 994559 w 1116502"/>
                <a:gd name="connsiteY22" fmla="*/ 2019300 h 3002287"/>
                <a:gd name="connsiteX23" fmla="*/ 1047899 w 1116502"/>
                <a:gd name="connsiteY23" fmla="*/ 2065020 h 3002287"/>
                <a:gd name="connsiteX24" fmla="*/ 1063139 w 1116502"/>
                <a:gd name="connsiteY24" fmla="*/ 2194560 h 3002287"/>
                <a:gd name="connsiteX25" fmla="*/ 1047899 w 1116502"/>
                <a:gd name="connsiteY25" fmla="*/ 2286000 h 3002287"/>
                <a:gd name="connsiteX26" fmla="*/ 1047899 w 1116502"/>
                <a:gd name="connsiteY26" fmla="*/ 2407920 h 3002287"/>
                <a:gd name="connsiteX27" fmla="*/ 1055519 w 1116502"/>
                <a:gd name="connsiteY27" fmla="*/ 2491740 h 3002287"/>
                <a:gd name="connsiteX28" fmla="*/ 1116479 w 1116502"/>
                <a:gd name="connsiteY28" fmla="*/ 2567940 h 3002287"/>
                <a:gd name="connsiteX29" fmla="*/ 1047899 w 1116502"/>
                <a:gd name="connsiteY29" fmla="*/ 2750820 h 3002287"/>
                <a:gd name="connsiteX30" fmla="*/ 1108859 w 1116502"/>
                <a:gd name="connsiteY30" fmla="*/ 3002280 h 3002287"/>
                <a:gd name="connsiteX0" fmla="*/ 3959 w 1154596"/>
                <a:gd name="connsiteY0" fmla="*/ 0 h 2979428"/>
                <a:gd name="connsiteX1" fmla="*/ 34439 w 1154596"/>
                <a:gd name="connsiteY1" fmla="*/ 76200 h 2979428"/>
                <a:gd name="connsiteX2" fmla="*/ 255419 w 1154596"/>
                <a:gd name="connsiteY2" fmla="*/ 205740 h 2979428"/>
                <a:gd name="connsiteX3" fmla="*/ 316379 w 1154596"/>
                <a:gd name="connsiteY3" fmla="*/ 228600 h 2979428"/>
                <a:gd name="connsiteX4" fmla="*/ 316379 w 1154596"/>
                <a:gd name="connsiteY4" fmla="*/ 281940 h 2979428"/>
                <a:gd name="connsiteX5" fmla="*/ 354479 w 1154596"/>
                <a:gd name="connsiteY5" fmla="*/ 411480 h 2979428"/>
                <a:gd name="connsiteX6" fmla="*/ 323999 w 1154596"/>
                <a:gd name="connsiteY6" fmla="*/ 518160 h 2979428"/>
                <a:gd name="connsiteX7" fmla="*/ 346859 w 1154596"/>
                <a:gd name="connsiteY7" fmla="*/ 640080 h 2979428"/>
                <a:gd name="connsiteX8" fmla="*/ 415439 w 1154596"/>
                <a:gd name="connsiteY8" fmla="*/ 777240 h 2979428"/>
                <a:gd name="connsiteX9" fmla="*/ 461159 w 1154596"/>
                <a:gd name="connsiteY9" fmla="*/ 891540 h 2979428"/>
                <a:gd name="connsiteX10" fmla="*/ 552599 w 1154596"/>
                <a:gd name="connsiteY10" fmla="*/ 982980 h 2979428"/>
                <a:gd name="connsiteX11" fmla="*/ 590699 w 1154596"/>
                <a:gd name="connsiteY11" fmla="*/ 1043940 h 2979428"/>
                <a:gd name="connsiteX12" fmla="*/ 613559 w 1154596"/>
                <a:gd name="connsiteY12" fmla="*/ 1181100 h 2979428"/>
                <a:gd name="connsiteX13" fmla="*/ 613559 w 1154596"/>
                <a:gd name="connsiteY13" fmla="*/ 1310640 h 2979428"/>
                <a:gd name="connsiteX14" fmla="*/ 674519 w 1154596"/>
                <a:gd name="connsiteY14" fmla="*/ 1363980 h 2979428"/>
                <a:gd name="connsiteX15" fmla="*/ 697379 w 1154596"/>
                <a:gd name="connsiteY15" fmla="*/ 1455420 h 2979428"/>
                <a:gd name="connsiteX16" fmla="*/ 735479 w 1154596"/>
                <a:gd name="connsiteY16" fmla="*/ 1516380 h 2979428"/>
                <a:gd name="connsiteX17" fmla="*/ 758339 w 1154596"/>
                <a:gd name="connsiteY17" fmla="*/ 1607820 h 2979428"/>
                <a:gd name="connsiteX18" fmla="*/ 826919 w 1154596"/>
                <a:gd name="connsiteY18" fmla="*/ 1714500 h 2979428"/>
                <a:gd name="connsiteX19" fmla="*/ 826919 w 1154596"/>
                <a:gd name="connsiteY19" fmla="*/ 1775460 h 2979428"/>
                <a:gd name="connsiteX20" fmla="*/ 872639 w 1154596"/>
                <a:gd name="connsiteY20" fmla="*/ 1859280 h 2979428"/>
                <a:gd name="connsiteX21" fmla="*/ 918359 w 1154596"/>
                <a:gd name="connsiteY21" fmla="*/ 1927860 h 2979428"/>
                <a:gd name="connsiteX22" fmla="*/ 994559 w 1154596"/>
                <a:gd name="connsiteY22" fmla="*/ 2019300 h 2979428"/>
                <a:gd name="connsiteX23" fmla="*/ 1047899 w 1154596"/>
                <a:gd name="connsiteY23" fmla="*/ 2065020 h 2979428"/>
                <a:gd name="connsiteX24" fmla="*/ 1063139 w 1154596"/>
                <a:gd name="connsiteY24" fmla="*/ 2194560 h 2979428"/>
                <a:gd name="connsiteX25" fmla="*/ 1047899 w 1154596"/>
                <a:gd name="connsiteY25" fmla="*/ 2286000 h 2979428"/>
                <a:gd name="connsiteX26" fmla="*/ 1047899 w 1154596"/>
                <a:gd name="connsiteY26" fmla="*/ 2407920 h 2979428"/>
                <a:gd name="connsiteX27" fmla="*/ 1055519 w 1154596"/>
                <a:gd name="connsiteY27" fmla="*/ 2491740 h 2979428"/>
                <a:gd name="connsiteX28" fmla="*/ 1116479 w 1154596"/>
                <a:gd name="connsiteY28" fmla="*/ 2567940 h 2979428"/>
                <a:gd name="connsiteX29" fmla="*/ 1047899 w 1154596"/>
                <a:gd name="connsiteY29" fmla="*/ 2750820 h 2979428"/>
                <a:gd name="connsiteX30" fmla="*/ 1154579 w 1154596"/>
                <a:gd name="connsiteY30" fmla="*/ 2979420 h 297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54596" h="2979428">
                  <a:moveTo>
                    <a:pt x="3959" y="0"/>
                  </a:moveTo>
                  <a:cubicBezTo>
                    <a:pt x="-1756" y="20955"/>
                    <a:pt x="-7471" y="41910"/>
                    <a:pt x="34439" y="76200"/>
                  </a:cubicBezTo>
                  <a:cubicBezTo>
                    <a:pt x="76349" y="110490"/>
                    <a:pt x="208429" y="180340"/>
                    <a:pt x="255419" y="205740"/>
                  </a:cubicBezTo>
                  <a:cubicBezTo>
                    <a:pt x="302409" y="231140"/>
                    <a:pt x="306219" y="215900"/>
                    <a:pt x="316379" y="228600"/>
                  </a:cubicBezTo>
                  <a:cubicBezTo>
                    <a:pt x="326539" y="241300"/>
                    <a:pt x="310029" y="251460"/>
                    <a:pt x="316379" y="281940"/>
                  </a:cubicBezTo>
                  <a:cubicBezTo>
                    <a:pt x="322729" y="312420"/>
                    <a:pt x="353209" y="372110"/>
                    <a:pt x="354479" y="411480"/>
                  </a:cubicBezTo>
                  <a:cubicBezTo>
                    <a:pt x="355749" y="450850"/>
                    <a:pt x="325269" y="480060"/>
                    <a:pt x="323999" y="518160"/>
                  </a:cubicBezTo>
                  <a:cubicBezTo>
                    <a:pt x="322729" y="556260"/>
                    <a:pt x="331619" y="596900"/>
                    <a:pt x="346859" y="640080"/>
                  </a:cubicBezTo>
                  <a:cubicBezTo>
                    <a:pt x="362099" y="683260"/>
                    <a:pt x="396389" y="735330"/>
                    <a:pt x="415439" y="777240"/>
                  </a:cubicBezTo>
                  <a:cubicBezTo>
                    <a:pt x="434489" y="819150"/>
                    <a:pt x="438299" y="857250"/>
                    <a:pt x="461159" y="891540"/>
                  </a:cubicBezTo>
                  <a:cubicBezTo>
                    <a:pt x="484019" y="925830"/>
                    <a:pt x="531009" y="957580"/>
                    <a:pt x="552599" y="982980"/>
                  </a:cubicBezTo>
                  <a:cubicBezTo>
                    <a:pt x="574189" y="1008380"/>
                    <a:pt x="580539" y="1010920"/>
                    <a:pt x="590699" y="1043940"/>
                  </a:cubicBezTo>
                  <a:cubicBezTo>
                    <a:pt x="600859" y="1076960"/>
                    <a:pt x="609749" y="1136650"/>
                    <a:pt x="613559" y="1181100"/>
                  </a:cubicBezTo>
                  <a:cubicBezTo>
                    <a:pt x="617369" y="1225550"/>
                    <a:pt x="603399" y="1280160"/>
                    <a:pt x="613559" y="1310640"/>
                  </a:cubicBezTo>
                  <a:cubicBezTo>
                    <a:pt x="623719" y="1341120"/>
                    <a:pt x="660549" y="1339850"/>
                    <a:pt x="674519" y="1363980"/>
                  </a:cubicBezTo>
                  <a:cubicBezTo>
                    <a:pt x="688489" y="1388110"/>
                    <a:pt x="687219" y="1430020"/>
                    <a:pt x="697379" y="1455420"/>
                  </a:cubicBezTo>
                  <a:cubicBezTo>
                    <a:pt x="707539" y="1480820"/>
                    <a:pt x="725319" y="1490980"/>
                    <a:pt x="735479" y="1516380"/>
                  </a:cubicBezTo>
                  <a:cubicBezTo>
                    <a:pt x="745639" y="1541780"/>
                    <a:pt x="743099" y="1574800"/>
                    <a:pt x="758339" y="1607820"/>
                  </a:cubicBezTo>
                  <a:cubicBezTo>
                    <a:pt x="773579" y="1640840"/>
                    <a:pt x="815489" y="1686560"/>
                    <a:pt x="826919" y="1714500"/>
                  </a:cubicBezTo>
                  <a:cubicBezTo>
                    <a:pt x="838349" y="1742440"/>
                    <a:pt x="819299" y="1751330"/>
                    <a:pt x="826919" y="1775460"/>
                  </a:cubicBezTo>
                  <a:cubicBezTo>
                    <a:pt x="834539" y="1799590"/>
                    <a:pt x="857399" y="1833880"/>
                    <a:pt x="872639" y="1859280"/>
                  </a:cubicBezTo>
                  <a:cubicBezTo>
                    <a:pt x="887879" y="1884680"/>
                    <a:pt x="898039" y="1901190"/>
                    <a:pt x="918359" y="1927860"/>
                  </a:cubicBezTo>
                  <a:cubicBezTo>
                    <a:pt x="938679" y="1954530"/>
                    <a:pt x="972969" y="1996440"/>
                    <a:pt x="994559" y="2019300"/>
                  </a:cubicBezTo>
                  <a:cubicBezTo>
                    <a:pt x="1016149" y="2042160"/>
                    <a:pt x="1036469" y="2035810"/>
                    <a:pt x="1047899" y="2065020"/>
                  </a:cubicBezTo>
                  <a:cubicBezTo>
                    <a:pt x="1059329" y="2094230"/>
                    <a:pt x="1063139" y="2157730"/>
                    <a:pt x="1063139" y="2194560"/>
                  </a:cubicBezTo>
                  <a:cubicBezTo>
                    <a:pt x="1063139" y="2231390"/>
                    <a:pt x="1050439" y="2250440"/>
                    <a:pt x="1047899" y="2286000"/>
                  </a:cubicBezTo>
                  <a:cubicBezTo>
                    <a:pt x="1045359" y="2321560"/>
                    <a:pt x="1046629" y="2373630"/>
                    <a:pt x="1047899" y="2407920"/>
                  </a:cubicBezTo>
                  <a:cubicBezTo>
                    <a:pt x="1049169" y="2442210"/>
                    <a:pt x="1044089" y="2465070"/>
                    <a:pt x="1055519" y="2491740"/>
                  </a:cubicBezTo>
                  <a:cubicBezTo>
                    <a:pt x="1066949" y="2518410"/>
                    <a:pt x="1117749" y="2524760"/>
                    <a:pt x="1116479" y="2567940"/>
                  </a:cubicBezTo>
                  <a:cubicBezTo>
                    <a:pt x="1115209" y="2611120"/>
                    <a:pt x="1046629" y="2745740"/>
                    <a:pt x="1047899" y="2750820"/>
                  </a:cubicBezTo>
                  <a:cubicBezTo>
                    <a:pt x="1049169" y="2753360"/>
                    <a:pt x="1156166" y="2981007"/>
                    <a:pt x="1154579" y="2979420"/>
                  </a:cubicBezTo>
                </a:path>
              </a:pathLst>
            </a:custGeom>
            <a:noFill/>
            <a:ln w="25400" cap="flat">
              <a:solidFill>
                <a:schemeClr val="accent1">
                  <a:lumMod val="60000"/>
                  <a:lumOff val="40000"/>
                </a:schemeClr>
              </a:solidFill>
              <a:prstDash val="sysDot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O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12" name="11 CuadroTexto"/>
            <p:cNvSpPr txBox="1"/>
            <p:nvPr/>
          </p:nvSpPr>
          <p:spPr>
            <a:xfrm rot="4099009">
              <a:off x="2487806" y="1845041"/>
              <a:ext cx="1498706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Qda</a:t>
              </a: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. Taruca </a:t>
              </a:r>
            </a:p>
          </p:txBody>
        </p:sp>
      </p:grpSp>
      <p:grpSp>
        <p:nvGrpSpPr>
          <p:cNvPr id="30" name="29 Grupo"/>
          <p:cNvGrpSpPr/>
          <p:nvPr/>
        </p:nvGrpSpPr>
        <p:grpSpPr>
          <a:xfrm>
            <a:off x="1104900" y="2571868"/>
            <a:ext cx="4465059" cy="2198252"/>
            <a:chOff x="1104900" y="2571868"/>
            <a:chExt cx="4465059" cy="2198252"/>
          </a:xfrm>
        </p:grpSpPr>
        <p:sp>
          <p:nvSpPr>
            <p:cNvPr id="11" name="10 Forma libre"/>
            <p:cNvSpPr/>
            <p:nvPr/>
          </p:nvSpPr>
          <p:spPr>
            <a:xfrm>
              <a:off x="1104900" y="2571868"/>
              <a:ext cx="4465059" cy="2198252"/>
            </a:xfrm>
            <a:custGeom>
              <a:avLst/>
              <a:gdLst>
                <a:gd name="connsiteX0" fmla="*/ 0 w 4465059"/>
                <a:gd name="connsiteY0" fmla="*/ 18932 h 2198252"/>
                <a:gd name="connsiteX1" fmla="*/ 68580 w 4465059"/>
                <a:gd name="connsiteY1" fmla="*/ 3692 h 2198252"/>
                <a:gd name="connsiteX2" fmla="*/ 175260 w 4465059"/>
                <a:gd name="connsiteY2" fmla="*/ 79892 h 2198252"/>
                <a:gd name="connsiteX3" fmla="*/ 243840 w 4465059"/>
                <a:gd name="connsiteY3" fmla="*/ 133232 h 2198252"/>
                <a:gd name="connsiteX4" fmla="*/ 381000 w 4465059"/>
                <a:gd name="connsiteY4" fmla="*/ 148472 h 2198252"/>
                <a:gd name="connsiteX5" fmla="*/ 472440 w 4465059"/>
                <a:gd name="connsiteY5" fmla="*/ 178952 h 2198252"/>
                <a:gd name="connsiteX6" fmla="*/ 571500 w 4465059"/>
                <a:gd name="connsiteY6" fmla="*/ 255152 h 2198252"/>
                <a:gd name="connsiteX7" fmla="*/ 647700 w 4465059"/>
                <a:gd name="connsiteY7" fmla="*/ 338972 h 2198252"/>
                <a:gd name="connsiteX8" fmla="*/ 746760 w 4465059"/>
                <a:gd name="connsiteY8" fmla="*/ 445652 h 2198252"/>
                <a:gd name="connsiteX9" fmla="*/ 731520 w 4465059"/>
                <a:gd name="connsiteY9" fmla="*/ 636152 h 2198252"/>
                <a:gd name="connsiteX10" fmla="*/ 807720 w 4465059"/>
                <a:gd name="connsiteY10" fmla="*/ 689492 h 2198252"/>
                <a:gd name="connsiteX11" fmla="*/ 876300 w 4465059"/>
                <a:gd name="connsiteY11" fmla="*/ 719972 h 2198252"/>
                <a:gd name="connsiteX12" fmla="*/ 967740 w 4465059"/>
                <a:gd name="connsiteY12" fmla="*/ 765692 h 2198252"/>
                <a:gd name="connsiteX13" fmla="*/ 1082040 w 4465059"/>
                <a:gd name="connsiteY13" fmla="*/ 780932 h 2198252"/>
                <a:gd name="connsiteX14" fmla="*/ 1295400 w 4465059"/>
                <a:gd name="connsiteY14" fmla="*/ 788552 h 2198252"/>
                <a:gd name="connsiteX15" fmla="*/ 1341120 w 4465059"/>
                <a:gd name="connsiteY15" fmla="*/ 796172 h 2198252"/>
                <a:gd name="connsiteX16" fmla="*/ 1424940 w 4465059"/>
                <a:gd name="connsiteY16" fmla="*/ 796172 h 2198252"/>
                <a:gd name="connsiteX17" fmla="*/ 1508760 w 4465059"/>
                <a:gd name="connsiteY17" fmla="*/ 758072 h 2198252"/>
                <a:gd name="connsiteX18" fmla="*/ 1600200 w 4465059"/>
                <a:gd name="connsiteY18" fmla="*/ 719972 h 2198252"/>
                <a:gd name="connsiteX19" fmla="*/ 1684020 w 4465059"/>
                <a:gd name="connsiteY19" fmla="*/ 735212 h 2198252"/>
                <a:gd name="connsiteX20" fmla="*/ 1798320 w 4465059"/>
                <a:gd name="connsiteY20" fmla="*/ 780932 h 2198252"/>
                <a:gd name="connsiteX21" fmla="*/ 1981200 w 4465059"/>
                <a:gd name="connsiteY21" fmla="*/ 819032 h 2198252"/>
                <a:gd name="connsiteX22" fmla="*/ 2103120 w 4465059"/>
                <a:gd name="connsiteY22" fmla="*/ 803792 h 2198252"/>
                <a:gd name="connsiteX23" fmla="*/ 2240280 w 4465059"/>
                <a:gd name="connsiteY23" fmla="*/ 872372 h 2198252"/>
                <a:gd name="connsiteX24" fmla="*/ 2369820 w 4465059"/>
                <a:gd name="connsiteY24" fmla="*/ 1070492 h 2198252"/>
                <a:gd name="connsiteX25" fmla="*/ 2514600 w 4465059"/>
                <a:gd name="connsiteY25" fmla="*/ 1184792 h 2198252"/>
                <a:gd name="connsiteX26" fmla="*/ 2560320 w 4465059"/>
                <a:gd name="connsiteY26" fmla="*/ 1253372 h 2198252"/>
                <a:gd name="connsiteX27" fmla="*/ 2644140 w 4465059"/>
                <a:gd name="connsiteY27" fmla="*/ 1276232 h 2198252"/>
                <a:gd name="connsiteX28" fmla="*/ 2788920 w 4465059"/>
                <a:gd name="connsiteY28" fmla="*/ 1276232 h 2198252"/>
                <a:gd name="connsiteX29" fmla="*/ 2872740 w 4465059"/>
                <a:gd name="connsiteY29" fmla="*/ 1245752 h 2198252"/>
                <a:gd name="connsiteX30" fmla="*/ 2948940 w 4465059"/>
                <a:gd name="connsiteY30" fmla="*/ 1314332 h 2198252"/>
                <a:gd name="connsiteX31" fmla="*/ 2956560 w 4465059"/>
                <a:gd name="connsiteY31" fmla="*/ 1382912 h 2198252"/>
                <a:gd name="connsiteX32" fmla="*/ 2956560 w 4465059"/>
                <a:gd name="connsiteY32" fmla="*/ 1459112 h 2198252"/>
                <a:gd name="connsiteX33" fmla="*/ 2964180 w 4465059"/>
                <a:gd name="connsiteY33" fmla="*/ 1504832 h 2198252"/>
                <a:gd name="connsiteX34" fmla="*/ 3002280 w 4465059"/>
                <a:gd name="connsiteY34" fmla="*/ 1542932 h 2198252"/>
                <a:gd name="connsiteX35" fmla="*/ 3108960 w 4465059"/>
                <a:gd name="connsiteY35" fmla="*/ 1520072 h 2198252"/>
                <a:gd name="connsiteX36" fmla="*/ 3253740 w 4465059"/>
                <a:gd name="connsiteY36" fmla="*/ 1588652 h 2198252"/>
                <a:gd name="connsiteX37" fmla="*/ 3345180 w 4465059"/>
                <a:gd name="connsiteY37" fmla="*/ 1710572 h 2198252"/>
                <a:gd name="connsiteX38" fmla="*/ 3421380 w 4465059"/>
                <a:gd name="connsiteY38" fmla="*/ 1763912 h 2198252"/>
                <a:gd name="connsiteX39" fmla="*/ 3489960 w 4465059"/>
                <a:gd name="connsiteY39" fmla="*/ 1802012 h 2198252"/>
                <a:gd name="connsiteX40" fmla="*/ 3665220 w 4465059"/>
                <a:gd name="connsiteY40" fmla="*/ 1832492 h 2198252"/>
                <a:gd name="connsiteX41" fmla="*/ 3764280 w 4465059"/>
                <a:gd name="connsiteY41" fmla="*/ 1923932 h 2198252"/>
                <a:gd name="connsiteX42" fmla="*/ 3985260 w 4465059"/>
                <a:gd name="connsiteY42" fmla="*/ 1954412 h 2198252"/>
                <a:gd name="connsiteX43" fmla="*/ 4191000 w 4465059"/>
                <a:gd name="connsiteY43" fmla="*/ 2061092 h 2198252"/>
                <a:gd name="connsiteX44" fmla="*/ 4267200 w 4465059"/>
                <a:gd name="connsiteY44" fmla="*/ 2129672 h 2198252"/>
                <a:gd name="connsiteX45" fmla="*/ 4351020 w 4465059"/>
                <a:gd name="connsiteY45" fmla="*/ 2167772 h 2198252"/>
                <a:gd name="connsiteX46" fmla="*/ 4457700 w 4465059"/>
                <a:gd name="connsiteY46" fmla="*/ 2198252 h 219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465059" h="2198252">
                  <a:moveTo>
                    <a:pt x="0" y="18932"/>
                  </a:moveTo>
                  <a:cubicBezTo>
                    <a:pt x="19685" y="6232"/>
                    <a:pt x="39370" y="-6468"/>
                    <a:pt x="68580" y="3692"/>
                  </a:cubicBezTo>
                  <a:cubicBezTo>
                    <a:pt x="97790" y="13852"/>
                    <a:pt x="146050" y="58302"/>
                    <a:pt x="175260" y="79892"/>
                  </a:cubicBezTo>
                  <a:cubicBezTo>
                    <a:pt x="204470" y="101482"/>
                    <a:pt x="209550" y="121802"/>
                    <a:pt x="243840" y="133232"/>
                  </a:cubicBezTo>
                  <a:cubicBezTo>
                    <a:pt x="278130" y="144662"/>
                    <a:pt x="342900" y="140852"/>
                    <a:pt x="381000" y="148472"/>
                  </a:cubicBezTo>
                  <a:cubicBezTo>
                    <a:pt x="419100" y="156092"/>
                    <a:pt x="440690" y="161172"/>
                    <a:pt x="472440" y="178952"/>
                  </a:cubicBezTo>
                  <a:cubicBezTo>
                    <a:pt x="504190" y="196732"/>
                    <a:pt x="542290" y="228482"/>
                    <a:pt x="571500" y="255152"/>
                  </a:cubicBezTo>
                  <a:cubicBezTo>
                    <a:pt x="600710" y="281822"/>
                    <a:pt x="618490" y="307222"/>
                    <a:pt x="647700" y="338972"/>
                  </a:cubicBezTo>
                  <a:cubicBezTo>
                    <a:pt x="676910" y="370722"/>
                    <a:pt x="732790" y="396122"/>
                    <a:pt x="746760" y="445652"/>
                  </a:cubicBezTo>
                  <a:cubicBezTo>
                    <a:pt x="760730" y="495182"/>
                    <a:pt x="721360" y="595512"/>
                    <a:pt x="731520" y="636152"/>
                  </a:cubicBezTo>
                  <a:cubicBezTo>
                    <a:pt x="741680" y="676792"/>
                    <a:pt x="783590" y="675522"/>
                    <a:pt x="807720" y="689492"/>
                  </a:cubicBezTo>
                  <a:cubicBezTo>
                    <a:pt x="831850" y="703462"/>
                    <a:pt x="849630" y="707272"/>
                    <a:pt x="876300" y="719972"/>
                  </a:cubicBezTo>
                  <a:cubicBezTo>
                    <a:pt x="902970" y="732672"/>
                    <a:pt x="933450" y="755532"/>
                    <a:pt x="967740" y="765692"/>
                  </a:cubicBezTo>
                  <a:cubicBezTo>
                    <a:pt x="1002030" y="775852"/>
                    <a:pt x="1027430" y="777122"/>
                    <a:pt x="1082040" y="780932"/>
                  </a:cubicBezTo>
                  <a:cubicBezTo>
                    <a:pt x="1136650" y="784742"/>
                    <a:pt x="1252220" y="786012"/>
                    <a:pt x="1295400" y="788552"/>
                  </a:cubicBezTo>
                  <a:cubicBezTo>
                    <a:pt x="1338580" y="791092"/>
                    <a:pt x="1319530" y="794902"/>
                    <a:pt x="1341120" y="796172"/>
                  </a:cubicBezTo>
                  <a:cubicBezTo>
                    <a:pt x="1362710" y="797442"/>
                    <a:pt x="1397000" y="802522"/>
                    <a:pt x="1424940" y="796172"/>
                  </a:cubicBezTo>
                  <a:cubicBezTo>
                    <a:pt x="1452880" y="789822"/>
                    <a:pt x="1479550" y="770772"/>
                    <a:pt x="1508760" y="758072"/>
                  </a:cubicBezTo>
                  <a:cubicBezTo>
                    <a:pt x="1537970" y="745372"/>
                    <a:pt x="1570990" y="723782"/>
                    <a:pt x="1600200" y="719972"/>
                  </a:cubicBezTo>
                  <a:cubicBezTo>
                    <a:pt x="1629410" y="716162"/>
                    <a:pt x="1651000" y="725052"/>
                    <a:pt x="1684020" y="735212"/>
                  </a:cubicBezTo>
                  <a:cubicBezTo>
                    <a:pt x="1717040" y="745372"/>
                    <a:pt x="1748790" y="766962"/>
                    <a:pt x="1798320" y="780932"/>
                  </a:cubicBezTo>
                  <a:cubicBezTo>
                    <a:pt x="1847850" y="794902"/>
                    <a:pt x="1930400" y="815222"/>
                    <a:pt x="1981200" y="819032"/>
                  </a:cubicBezTo>
                  <a:cubicBezTo>
                    <a:pt x="2032000" y="822842"/>
                    <a:pt x="2059940" y="794902"/>
                    <a:pt x="2103120" y="803792"/>
                  </a:cubicBezTo>
                  <a:cubicBezTo>
                    <a:pt x="2146300" y="812682"/>
                    <a:pt x="2195830" y="827922"/>
                    <a:pt x="2240280" y="872372"/>
                  </a:cubicBezTo>
                  <a:cubicBezTo>
                    <a:pt x="2284730" y="916822"/>
                    <a:pt x="2324100" y="1018422"/>
                    <a:pt x="2369820" y="1070492"/>
                  </a:cubicBezTo>
                  <a:cubicBezTo>
                    <a:pt x="2415540" y="1122562"/>
                    <a:pt x="2482850" y="1154312"/>
                    <a:pt x="2514600" y="1184792"/>
                  </a:cubicBezTo>
                  <a:cubicBezTo>
                    <a:pt x="2546350" y="1215272"/>
                    <a:pt x="2538730" y="1238132"/>
                    <a:pt x="2560320" y="1253372"/>
                  </a:cubicBezTo>
                  <a:cubicBezTo>
                    <a:pt x="2581910" y="1268612"/>
                    <a:pt x="2606040" y="1272422"/>
                    <a:pt x="2644140" y="1276232"/>
                  </a:cubicBezTo>
                  <a:cubicBezTo>
                    <a:pt x="2682240" y="1280042"/>
                    <a:pt x="2750820" y="1281312"/>
                    <a:pt x="2788920" y="1276232"/>
                  </a:cubicBezTo>
                  <a:cubicBezTo>
                    <a:pt x="2827020" y="1271152"/>
                    <a:pt x="2846070" y="1239402"/>
                    <a:pt x="2872740" y="1245752"/>
                  </a:cubicBezTo>
                  <a:cubicBezTo>
                    <a:pt x="2899410" y="1252102"/>
                    <a:pt x="2934970" y="1291472"/>
                    <a:pt x="2948940" y="1314332"/>
                  </a:cubicBezTo>
                  <a:cubicBezTo>
                    <a:pt x="2962910" y="1337192"/>
                    <a:pt x="2955290" y="1358782"/>
                    <a:pt x="2956560" y="1382912"/>
                  </a:cubicBezTo>
                  <a:cubicBezTo>
                    <a:pt x="2957830" y="1407042"/>
                    <a:pt x="2955290" y="1438792"/>
                    <a:pt x="2956560" y="1459112"/>
                  </a:cubicBezTo>
                  <a:cubicBezTo>
                    <a:pt x="2957830" y="1479432"/>
                    <a:pt x="2956560" y="1490862"/>
                    <a:pt x="2964180" y="1504832"/>
                  </a:cubicBezTo>
                  <a:cubicBezTo>
                    <a:pt x="2971800" y="1518802"/>
                    <a:pt x="2978150" y="1540392"/>
                    <a:pt x="3002280" y="1542932"/>
                  </a:cubicBezTo>
                  <a:cubicBezTo>
                    <a:pt x="3026410" y="1545472"/>
                    <a:pt x="3067050" y="1512452"/>
                    <a:pt x="3108960" y="1520072"/>
                  </a:cubicBezTo>
                  <a:cubicBezTo>
                    <a:pt x="3150870" y="1527692"/>
                    <a:pt x="3214370" y="1556902"/>
                    <a:pt x="3253740" y="1588652"/>
                  </a:cubicBezTo>
                  <a:cubicBezTo>
                    <a:pt x="3293110" y="1620402"/>
                    <a:pt x="3317240" y="1681362"/>
                    <a:pt x="3345180" y="1710572"/>
                  </a:cubicBezTo>
                  <a:cubicBezTo>
                    <a:pt x="3373120" y="1739782"/>
                    <a:pt x="3397250" y="1748672"/>
                    <a:pt x="3421380" y="1763912"/>
                  </a:cubicBezTo>
                  <a:cubicBezTo>
                    <a:pt x="3445510" y="1779152"/>
                    <a:pt x="3449320" y="1790582"/>
                    <a:pt x="3489960" y="1802012"/>
                  </a:cubicBezTo>
                  <a:cubicBezTo>
                    <a:pt x="3530600" y="1813442"/>
                    <a:pt x="3619500" y="1812172"/>
                    <a:pt x="3665220" y="1832492"/>
                  </a:cubicBezTo>
                  <a:cubicBezTo>
                    <a:pt x="3710940" y="1852812"/>
                    <a:pt x="3710940" y="1903612"/>
                    <a:pt x="3764280" y="1923932"/>
                  </a:cubicBezTo>
                  <a:cubicBezTo>
                    <a:pt x="3817620" y="1944252"/>
                    <a:pt x="3914140" y="1931552"/>
                    <a:pt x="3985260" y="1954412"/>
                  </a:cubicBezTo>
                  <a:cubicBezTo>
                    <a:pt x="4056380" y="1977272"/>
                    <a:pt x="4144010" y="2031882"/>
                    <a:pt x="4191000" y="2061092"/>
                  </a:cubicBezTo>
                  <a:cubicBezTo>
                    <a:pt x="4237990" y="2090302"/>
                    <a:pt x="4240530" y="2111892"/>
                    <a:pt x="4267200" y="2129672"/>
                  </a:cubicBezTo>
                  <a:cubicBezTo>
                    <a:pt x="4293870" y="2147452"/>
                    <a:pt x="4319270" y="2156342"/>
                    <a:pt x="4351020" y="2167772"/>
                  </a:cubicBezTo>
                  <a:cubicBezTo>
                    <a:pt x="4382770" y="2179202"/>
                    <a:pt x="4494530" y="2189362"/>
                    <a:pt x="4457700" y="2198252"/>
                  </a:cubicBezTo>
                </a:path>
              </a:pathLst>
            </a:custGeom>
            <a:noFill/>
            <a:ln w="25400" cap="flat">
              <a:solidFill>
                <a:schemeClr val="accent1">
                  <a:lumMod val="60000"/>
                  <a:lumOff val="40000"/>
                </a:schemeClr>
              </a:solidFill>
              <a:prstDash val="sysDot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latinLnBrk="1"/>
              <a:endParaRPr lang="es-CO">
                <a:solidFill>
                  <a:srgbClr val="000000"/>
                </a:solidFill>
              </a:endParaRPr>
            </a:p>
          </p:txBody>
        </p:sp>
        <p:sp>
          <p:nvSpPr>
            <p:cNvPr id="14" name="13 CuadroTexto"/>
            <p:cNvSpPr txBox="1"/>
            <p:nvPr/>
          </p:nvSpPr>
          <p:spPr>
            <a:xfrm rot="477363">
              <a:off x="1403726" y="3303838"/>
              <a:ext cx="1498706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Qda</a:t>
              </a: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. </a:t>
              </a: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Sangoyaco</a:t>
              </a:r>
              <a:endParaRPr kumimoji="0" lang="es-CO" sz="800" b="1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1" name="30 Grupo"/>
          <p:cNvGrpSpPr/>
          <p:nvPr/>
        </p:nvGrpSpPr>
        <p:grpSpPr>
          <a:xfrm>
            <a:off x="5600700" y="853440"/>
            <a:ext cx="1196340" cy="3931920"/>
            <a:chOff x="5600700" y="853440"/>
            <a:chExt cx="1196340" cy="3931920"/>
          </a:xfrm>
        </p:grpSpPr>
        <p:sp>
          <p:nvSpPr>
            <p:cNvPr id="13" name="12 Forma libre"/>
            <p:cNvSpPr/>
            <p:nvPr/>
          </p:nvSpPr>
          <p:spPr>
            <a:xfrm>
              <a:off x="5600700" y="853440"/>
              <a:ext cx="1196340" cy="3931920"/>
            </a:xfrm>
            <a:custGeom>
              <a:avLst/>
              <a:gdLst>
                <a:gd name="connsiteX0" fmla="*/ 1120140 w 1196340"/>
                <a:gd name="connsiteY0" fmla="*/ 3924300 h 3931920"/>
                <a:gd name="connsiteX1" fmla="*/ 1158240 w 1196340"/>
                <a:gd name="connsiteY1" fmla="*/ 3710940 h 3931920"/>
                <a:gd name="connsiteX2" fmla="*/ 1196340 w 1196340"/>
                <a:gd name="connsiteY2" fmla="*/ 3558540 h 3931920"/>
                <a:gd name="connsiteX3" fmla="*/ 1188720 w 1196340"/>
                <a:gd name="connsiteY3" fmla="*/ 3383280 h 3931920"/>
                <a:gd name="connsiteX4" fmla="*/ 1181100 w 1196340"/>
                <a:gd name="connsiteY4" fmla="*/ 3177540 h 3931920"/>
                <a:gd name="connsiteX5" fmla="*/ 1173480 w 1196340"/>
                <a:gd name="connsiteY5" fmla="*/ 3009900 h 3931920"/>
                <a:gd name="connsiteX6" fmla="*/ 1112520 w 1196340"/>
                <a:gd name="connsiteY6" fmla="*/ 2849880 h 3931920"/>
                <a:gd name="connsiteX7" fmla="*/ 1066800 w 1196340"/>
                <a:gd name="connsiteY7" fmla="*/ 2651760 h 3931920"/>
                <a:gd name="connsiteX8" fmla="*/ 1013460 w 1196340"/>
                <a:gd name="connsiteY8" fmla="*/ 2552700 h 3931920"/>
                <a:gd name="connsiteX9" fmla="*/ 1013460 w 1196340"/>
                <a:gd name="connsiteY9" fmla="*/ 2407920 h 3931920"/>
                <a:gd name="connsiteX10" fmla="*/ 1021080 w 1196340"/>
                <a:gd name="connsiteY10" fmla="*/ 2339340 h 3931920"/>
                <a:gd name="connsiteX11" fmla="*/ 1089660 w 1196340"/>
                <a:gd name="connsiteY11" fmla="*/ 2278380 h 3931920"/>
                <a:gd name="connsiteX12" fmla="*/ 1112520 w 1196340"/>
                <a:gd name="connsiteY12" fmla="*/ 2171700 h 3931920"/>
                <a:gd name="connsiteX13" fmla="*/ 1097280 w 1196340"/>
                <a:gd name="connsiteY13" fmla="*/ 1950720 h 3931920"/>
                <a:gd name="connsiteX14" fmla="*/ 1043940 w 1196340"/>
                <a:gd name="connsiteY14" fmla="*/ 1805940 h 3931920"/>
                <a:gd name="connsiteX15" fmla="*/ 1074420 w 1196340"/>
                <a:gd name="connsiteY15" fmla="*/ 1546860 h 3931920"/>
                <a:gd name="connsiteX16" fmla="*/ 1043940 w 1196340"/>
                <a:gd name="connsiteY16" fmla="*/ 1356360 h 3931920"/>
                <a:gd name="connsiteX17" fmla="*/ 960120 w 1196340"/>
                <a:gd name="connsiteY17" fmla="*/ 1295400 h 3931920"/>
                <a:gd name="connsiteX18" fmla="*/ 944880 w 1196340"/>
                <a:gd name="connsiteY18" fmla="*/ 1181100 h 3931920"/>
                <a:gd name="connsiteX19" fmla="*/ 807720 w 1196340"/>
                <a:gd name="connsiteY19" fmla="*/ 1043940 h 3931920"/>
                <a:gd name="connsiteX20" fmla="*/ 693420 w 1196340"/>
                <a:gd name="connsiteY20" fmla="*/ 967740 h 3931920"/>
                <a:gd name="connsiteX21" fmla="*/ 624840 w 1196340"/>
                <a:gd name="connsiteY21" fmla="*/ 800100 h 3931920"/>
                <a:gd name="connsiteX22" fmla="*/ 556260 w 1196340"/>
                <a:gd name="connsiteY22" fmla="*/ 617220 h 3931920"/>
                <a:gd name="connsiteX23" fmla="*/ 510540 w 1196340"/>
                <a:gd name="connsiteY23" fmla="*/ 487680 h 3931920"/>
                <a:gd name="connsiteX24" fmla="*/ 510540 w 1196340"/>
                <a:gd name="connsiteY24" fmla="*/ 365760 h 3931920"/>
                <a:gd name="connsiteX25" fmla="*/ 502920 w 1196340"/>
                <a:gd name="connsiteY25" fmla="*/ 228600 h 3931920"/>
                <a:gd name="connsiteX26" fmla="*/ 426720 w 1196340"/>
                <a:gd name="connsiteY26" fmla="*/ 114300 h 3931920"/>
                <a:gd name="connsiteX27" fmla="*/ 304800 w 1196340"/>
                <a:gd name="connsiteY27" fmla="*/ 53340 h 3931920"/>
                <a:gd name="connsiteX28" fmla="*/ 297180 w 1196340"/>
                <a:gd name="connsiteY28" fmla="*/ 0 h 3931920"/>
                <a:gd name="connsiteX29" fmla="*/ 60960 w 1196340"/>
                <a:gd name="connsiteY29" fmla="*/ 0 h 3931920"/>
                <a:gd name="connsiteX30" fmla="*/ 0 w 1196340"/>
                <a:gd name="connsiteY30" fmla="*/ 83820 h 3931920"/>
                <a:gd name="connsiteX31" fmla="*/ 15240 w 1196340"/>
                <a:gd name="connsiteY31" fmla="*/ 182880 h 3931920"/>
                <a:gd name="connsiteX32" fmla="*/ 22860 w 1196340"/>
                <a:gd name="connsiteY32" fmla="*/ 342900 h 3931920"/>
                <a:gd name="connsiteX33" fmla="*/ 22860 w 1196340"/>
                <a:gd name="connsiteY33" fmla="*/ 464820 h 3931920"/>
                <a:gd name="connsiteX34" fmla="*/ 83820 w 1196340"/>
                <a:gd name="connsiteY34" fmla="*/ 678180 h 3931920"/>
                <a:gd name="connsiteX35" fmla="*/ 144780 w 1196340"/>
                <a:gd name="connsiteY35" fmla="*/ 838200 h 3931920"/>
                <a:gd name="connsiteX36" fmla="*/ 175260 w 1196340"/>
                <a:gd name="connsiteY36" fmla="*/ 937260 h 3931920"/>
                <a:gd name="connsiteX37" fmla="*/ 251460 w 1196340"/>
                <a:gd name="connsiteY37" fmla="*/ 998220 h 3931920"/>
                <a:gd name="connsiteX38" fmla="*/ 342900 w 1196340"/>
                <a:gd name="connsiteY38" fmla="*/ 1036320 h 3931920"/>
                <a:gd name="connsiteX39" fmla="*/ 373380 w 1196340"/>
                <a:gd name="connsiteY39" fmla="*/ 1143000 h 3931920"/>
                <a:gd name="connsiteX40" fmla="*/ 441960 w 1196340"/>
                <a:gd name="connsiteY40" fmla="*/ 1424940 h 3931920"/>
                <a:gd name="connsiteX41" fmla="*/ 548640 w 1196340"/>
                <a:gd name="connsiteY41" fmla="*/ 1630680 h 3931920"/>
                <a:gd name="connsiteX42" fmla="*/ 678180 w 1196340"/>
                <a:gd name="connsiteY42" fmla="*/ 1775460 h 3931920"/>
                <a:gd name="connsiteX43" fmla="*/ 739140 w 1196340"/>
                <a:gd name="connsiteY43" fmla="*/ 1905000 h 3931920"/>
                <a:gd name="connsiteX44" fmla="*/ 815340 w 1196340"/>
                <a:gd name="connsiteY44" fmla="*/ 2110740 h 3931920"/>
                <a:gd name="connsiteX45" fmla="*/ 830580 w 1196340"/>
                <a:gd name="connsiteY45" fmla="*/ 2194560 h 3931920"/>
                <a:gd name="connsiteX46" fmla="*/ 792480 w 1196340"/>
                <a:gd name="connsiteY46" fmla="*/ 2354580 h 3931920"/>
                <a:gd name="connsiteX47" fmla="*/ 769620 w 1196340"/>
                <a:gd name="connsiteY47" fmla="*/ 2446020 h 3931920"/>
                <a:gd name="connsiteX48" fmla="*/ 762000 w 1196340"/>
                <a:gd name="connsiteY48" fmla="*/ 2499360 h 3931920"/>
                <a:gd name="connsiteX49" fmla="*/ 762000 w 1196340"/>
                <a:gd name="connsiteY49" fmla="*/ 2552700 h 3931920"/>
                <a:gd name="connsiteX50" fmla="*/ 762000 w 1196340"/>
                <a:gd name="connsiteY50" fmla="*/ 2636520 h 3931920"/>
                <a:gd name="connsiteX51" fmla="*/ 746760 w 1196340"/>
                <a:gd name="connsiteY51" fmla="*/ 2766060 h 3931920"/>
                <a:gd name="connsiteX52" fmla="*/ 731520 w 1196340"/>
                <a:gd name="connsiteY52" fmla="*/ 2941320 h 3931920"/>
                <a:gd name="connsiteX53" fmla="*/ 678180 w 1196340"/>
                <a:gd name="connsiteY53" fmla="*/ 3032760 h 3931920"/>
                <a:gd name="connsiteX54" fmla="*/ 685800 w 1196340"/>
                <a:gd name="connsiteY54" fmla="*/ 3108960 h 3931920"/>
                <a:gd name="connsiteX55" fmla="*/ 647700 w 1196340"/>
                <a:gd name="connsiteY55" fmla="*/ 3368040 h 3931920"/>
                <a:gd name="connsiteX56" fmla="*/ 655320 w 1196340"/>
                <a:gd name="connsiteY56" fmla="*/ 3512820 h 3931920"/>
                <a:gd name="connsiteX57" fmla="*/ 678180 w 1196340"/>
                <a:gd name="connsiteY57" fmla="*/ 3703320 h 3931920"/>
                <a:gd name="connsiteX58" fmla="*/ 739140 w 1196340"/>
                <a:gd name="connsiteY58" fmla="*/ 3810000 h 3931920"/>
                <a:gd name="connsiteX59" fmla="*/ 746760 w 1196340"/>
                <a:gd name="connsiteY59" fmla="*/ 3855720 h 3931920"/>
                <a:gd name="connsiteX60" fmla="*/ 731520 w 1196340"/>
                <a:gd name="connsiteY60" fmla="*/ 3931920 h 3931920"/>
                <a:gd name="connsiteX61" fmla="*/ 1120140 w 1196340"/>
                <a:gd name="connsiteY61" fmla="*/ 3924300 h 393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196340" h="3931920">
                  <a:moveTo>
                    <a:pt x="1120140" y="3924300"/>
                  </a:moveTo>
                  <a:lnTo>
                    <a:pt x="1158240" y="3710940"/>
                  </a:lnTo>
                  <a:lnTo>
                    <a:pt x="1196340" y="3558540"/>
                  </a:lnTo>
                  <a:lnTo>
                    <a:pt x="1188720" y="3383280"/>
                  </a:lnTo>
                  <a:lnTo>
                    <a:pt x="1181100" y="3177540"/>
                  </a:lnTo>
                  <a:lnTo>
                    <a:pt x="1173480" y="3009900"/>
                  </a:lnTo>
                  <a:lnTo>
                    <a:pt x="1112520" y="2849880"/>
                  </a:lnTo>
                  <a:lnTo>
                    <a:pt x="1066800" y="2651760"/>
                  </a:lnTo>
                  <a:lnTo>
                    <a:pt x="1013460" y="2552700"/>
                  </a:lnTo>
                  <a:lnTo>
                    <a:pt x="1013460" y="2407920"/>
                  </a:lnTo>
                  <a:lnTo>
                    <a:pt x="1021080" y="2339340"/>
                  </a:lnTo>
                  <a:lnTo>
                    <a:pt x="1089660" y="2278380"/>
                  </a:lnTo>
                  <a:lnTo>
                    <a:pt x="1112520" y="2171700"/>
                  </a:lnTo>
                  <a:lnTo>
                    <a:pt x="1097280" y="1950720"/>
                  </a:lnTo>
                  <a:lnTo>
                    <a:pt x="1043940" y="1805940"/>
                  </a:lnTo>
                  <a:lnTo>
                    <a:pt x="1074420" y="1546860"/>
                  </a:lnTo>
                  <a:lnTo>
                    <a:pt x="1043940" y="1356360"/>
                  </a:lnTo>
                  <a:lnTo>
                    <a:pt x="960120" y="1295400"/>
                  </a:lnTo>
                  <a:lnTo>
                    <a:pt x="944880" y="1181100"/>
                  </a:lnTo>
                  <a:lnTo>
                    <a:pt x="807720" y="1043940"/>
                  </a:lnTo>
                  <a:lnTo>
                    <a:pt x="693420" y="967740"/>
                  </a:lnTo>
                  <a:lnTo>
                    <a:pt x="624840" y="800100"/>
                  </a:lnTo>
                  <a:lnTo>
                    <a:pt x="556260" y="617220"/>
                  </a:lnTo>
                  <a:lnTo>
                    <a:pt x="510540" y="487680"/>
                  </a:lnTo>
                  <a:lnTo>
                    <a:pt x="510540" y="365760"/>
                  </a:lnTo>
                  <a:lnTo>
                    <a:pt x="502920" y="228600"/>
                  </a:lnTo>
                  <a:lnTo>
                    <a:pt x="426720" y="114300"/>
                  </a:lnTo>
                  <a:lnTo>
                    <a:pt x="304800" y="53340"/>
                  </a:lnTo>
                  <a:lnTo>
                    <a:pt x="297180" y="0"/>
                  </a:lnTo>
                  <a:lnTo>
                    <a:pt x="60960" y="0"/>
                  </a:lnTo>
                  <a:lnTo>
                    <a:pt x="0" y="83820"/>
                  </a:lnTo>
                  <a:lnTo>
                    <a:pt x="15240" y="182880"/>
                  </a:lnTo>
                  <a:lnTo>
                    <a:pt x="22860" y="342900"/>
                  </a:lnTo>
                  <a:lnTo>
                    <a:pt x="22860" y="464820"/>
                  </a:lnTo>
                  <a:lnTo>
                    <a:pt x="83820" y="678180"/>
                  </a:lnTo>
                  <a:lnTo>
                    <a:pt x="144780" y="838200"/>
                  </a:lnTo>
                  <a:lnTo>
                    <a:pt x="175260" y="937260"/>
                  </a:lnTo>
                  <a:lnTo>
                    <a:pt x="251460" y="998220"/>
                  </a:lnTo>
                  <a:lnTo>
                    <a:pt x="342900" y="1036320"/>
                  </a:lnTo>
                  <a:lnTo>
                    <a:pt x="373380" y="1143000"/>
                  </a:lnTo>
                  <a:lnTo>
                    <a:pt x="441960" y="1424940"/>
                  </a:lnTo>
                  <a:lnTo>
                    <a:pt x="548640" y="1630680"/>
                  </a:lnTo>
                  <a:lnTo>
                    <a:pt x="678180" y="1775460"/>
                  </a:lnTo>
                  <a:lnTo>
                    <a:pt x="739140" y="1905000"/>
                  </a:lnTo>
                  <a:lnTo>
                    <a:pt x="815340" y="2110740"/>
                  </a:lnTo>
                  <a:lnTo>
                    <a:pt x="830580" y="2194560"/>
                  </a:lnTo>
                  <a:lnTo>
                    <a:pt x="792480" y="2354580"/>
                  </a:lnTo>
                  <a:lnTo>
                    <a:pt x="769620" y="2446020"/>
                  </a:lnTo>
                  <a:lnTo>
                    <a:pt x="762000" y="2499360"/>
                  </a:lnTo>
                  <a:lnTo>
                    <a:pt x="762000" y="2552700"/>
                  </a:lnTo>
                  <a:lnTo>
                    <a:pt x="762000" y="2636520"/>
                  </a:lnTo>
                  <a:lnTo>
                    <a:pt x="746760" y="2766060"/>
                  </a:lnTo>
                  <a:lnTo>
                    <a:pt x="731520" y="2941320"/>
                  </a:lnTo>
                  <a:lnTo>
                    <a:pt x="678180" y="3032760"/>
                  </a:lnTo>
                  <a:lnTo>
                    <a:pt x="685800" y="3108960"/>
                  </a:lnTo>
                  <a:lnTo>
                    <a:pt x="647700" y="3368040"/>
                  </a:lnTo>
                  <a:lnTo>
                    <a:pt x="655320" y="3512820"/>
                  </a:lnTo>
                  <a:lnTo>
                    <a:pt x="678180" y="3703320"/>
                  </a:lnTo>
                  <a:lnTo>
                    <a:pt x="739140" y="3810000"/>
                  </a:lnTo>
                  <a:lnTo>
                    <a:pt x="746760" y="3855720"/>
                  </a:lnTo>
                  <a:lnTo>
                    <a:pt x="731520" y="3931920"/>
                  </a:lnTo>
                  <a:lnTo>
                    <a:pt x="1120140" y="39243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21000"/>
              </a:schemeClr>
            </a:solidFill>
            <a:ln w="25400" cap="flat">
              <a:solidFill>
                <a:schemeClr val="accent1">
                  <a:lumMod val="40000"/>
                  <a:lumOff val="60000"/>
                </a:schemeClr>
              </a:solidFill>
              <a:prstDash val="sysDot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O" sz="1800" b="0" i="0" u="none" strike="noStrike" cap="none" spc="0" normalizeH="0" baseline="0">
                <a:ln>
                  <a:noFill/>
                </a:ln>
                <a:solidFill>
                  <a:srgbClr val="595959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14 CuadroTexto"/>
            <p:cNvSpPr txBox="1"/>
            <p:nvPr/>
          </p:nvSpPr>
          <p:spPr>
            <a:xfrm rot="4099009">
              <a:off x="5634419" y="2301367"/>
              <a:ext cx="1498706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Río Mocoa</a:t>
              </a:r>
            </a:p>
          </p:txBody>
        </p:sp>
      </p:grpSp>
      <p:grpSp>
        <p:nvGrpSpPr>
          <p:cNvPr id="28" name="27 Grupo"/>
          <p:cNvGrpSpPr/>
          <p:nvPr/>
        </p:nvGrpSpPr>
        <p:grpSpPr>
          <a:xfrm>
            <a:off x="2809153" y="853440"/>
            <a:ext cx="818658" cy="861834"/>
            <a:chOff x="2809153" y="853440"/>
            <a:chExt cx="818658" cy="861834"/>
          </a:xfrm>
        </p:grpSpPr>
        <p:grpSp>
          <p:nvGrpSpPr>
            <p:cNvPr id="23" name="22 Grupo"/>
            <p:cNvGrpSpPr/>
            <p:nvPr/>
          </p:nvGrpSpPr>
          <p:grpSpPr>
            <a:xfrm>
              <a:off x="3192781" y="853440"/>
              <a:ext cx="284622" cy="861834"/>
              <a:chOff x="3192781" y="853440"/>
              <a:chExt cx="284622" cy="861834"/>
            </a:xfrm>
          </p:grpSpPr>
          <p:sp>
            <p:nvSpPr>
              <p:cNvPr id="16" name="15 Elipse"/>
              <p:cNvSpPr/>
              <p:nvPr/>
            </p:nvSpPr>
            <p:spPr>
              <a:xfrm>
                <a:off x="3393584" y="1669555"/>
                <a:ext cx="45719" cy="45719"/>
              </a:xfrm>
              <a:prstGeom prst="ellipse">
                <a:avLst/>
              </a:prstGeom>
              <a:solidFill>
                <a:srgbClr val="FF0000"/>
              </a:solidFill>
              <a:ln w="25400" cap="flat">
                <a:solidFill>
                  <a:srgbClr val="FF000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595959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" name="16 Elipse"/>
              <p:cNvSpPr/>
              <p:nvPr/>
            </p:nvSpPr>
            <p:spPr>
              <a:xfrm>
                <a:off x="3431684" y="1396762"/>
                <a:ext cx="45719" cy="45719"/>
              </a:xfrm>
              <a:prstGeom prst="ellipse">
                <a:avLst/>
              </a:prstGeom>
              <a:solidFill>
                <a:srgbClr val="FF0000"/>
              </a:solidFill>
              <a:ln w="25400" cap="flat">
                <a:solidFill>
                  <a:srgbClr val="FF000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595959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" name="19 Forma libre"/>
              <p:cNvSpPr/>
              <p:nvPr/>
            </p:nvSpPr>
            <p:spPr>
              <a:xfrm>
                <a:off x="3192781" y="853440"/>
                <a:ext cx="266700" cy="845820"/>
              </a:xfrm>
              <a:custGeom>
                <a:avLst/>
                <a:gdLst>
                  <a:gd name="connsiteX0" fmla="*/ 83820 w 114300"/>
                  <a:gd name="connsiteY0" fmla="*/ 556260 h 556260"/>
                  <a:gd name="connsiteX1" fmla="*/ 91440 w 114300"/>
                  <a:gd name="connsiteY1" fmla="*/ 472440 h 556260"/>
                  <a:gd name="connsiteX2" fmla="*/ 106680 w 114300"/>
                  <a:gd name="connsiteY2" fmla="*/ 304800 h 556260"/>
                  <a:gd name="connsiteX3" fmla="*/ 114300 w 114300"/>
                  <a:gd name="connsiteY3" fmla="*/ 281940 h 556260"/>
                  <a:gd name="connsiteX4" fmla="*/ 106680 w 114300"/>
                  <a:gd name="connsiteY4" fmla="*/ 236220 h 556260"/>
                  <a:gd name="connsiteX5" fmla="*/ 83820 w 114300"/>
                  <a:gd name="connsiteY5" fmla="*/ 213360 h 556260"/>
                  <a:gd name="connsiteX6" fmla="*/ 53340 w 114300"/>
                  <a:gd name="connsiteY6" fmla="*/ 152400 h 556260"/>
                  <a:gd name="connsiteX7" fmla="*/ 45720 w 114300"/>
                  <a:gd name="connsiteY7" fmla="*/ 129540 h 556260"/>
                  <a:gd name="connsiteX8" fmla="*/ 38100 w 114300"/>
                  <a:gd name="connsiteY8" fmla="*/ 99060 h 556260"/>
                  <a:gd name="connsiteX9" fmla="*/ 22860 w 114300"/>
                  <a:gd name="connsiteY9" fmla="*/ 68580 h 556260"/>
                  <a:gd name="connsiteX10" fmla="*/ 15240 w 114300"/>
                  <a:gd name="connsiteY10" fmla="*/ 38100 h 556260"/>
                  <a:gd name="connsiteX11" fmla="*/ 0 w 114300"/>
                  <a:gd name="connsiteY11" fmla="*/ 0 h 556260"/>
                  <a:gd name="connsiteX0" fmla="*/ 83820 w 114300"/>
                  <a:gd name="connsiteY0" fmla="*/ 556260 h 556260"/>
                  <a:gd name="connsiteX1" fmla="*/ 106680 w 114300"/>
                  <a:gd name="connsiteY1" fmla="*/ 304800 h 556260"/>
                  <a:gd name="connsiteX2" fmla="*/ 114300 w 114300"/>
                  <a:gd name="connsiteY2" fmla="*/ 281940 h 556260"/>
                  <a:gd name="connsiteX3" fmla="*/ 106680 w 114300"/>
                  <a:gd name="connsiteY3" fmla="*/ 236220 h 556260"/>
                  <a:gd name="connsiteX4" fmla="*/ 83820 w 114300"/>
                  <a:gd name="connsiteY4" fmla="*/ 213360 h 556260"/>
                  <a:gd name="connsiteX5" fmla="*/ 53340 w 114300"/>
                  <a:gd name="connsiteY5" fmla="*/ 152400 h 556260"/>
                  <a:gd name="connsiteX6" fmla="*/ 45720 w 114300"/>
                  <a:gd name="connsiteY6" fmla="*/ 129540 h 556260"/>
                  <a:gd name="connsiteX7" fmla="*/ 38100 w 114300"/>
                  <a:gd name="connsiteY7" fmla="*/ 99060 h 556260"/>
                  <a:gd name="connsiteX8" fmla="*/ 22860 w 114300"/>
                  <a:gd name="connsiteY8" fmla="*/ 68580 h 556260"/>
                  <a:gd name="connsiteX9" fmla="*/ 15240 w 114300"/>
                  <a:gd name="connsiteY9" fmla="*/ 38100 h 556260"/>
                  <a:gd name="connsiteX10" fmla="*/ 0 w 114300"/>
                  <a:gd name="connsiteY10" fmla="*/ 0 h 556260"/>
                  <a:gd name="connsiteX0" fmla="*/ 83820 w 114300"/>
                  <a:gd name="connsiteY0" fmla="*/ 556260 h 556260"/>
                  <a:gd name="connsiteX1" fmla="*/ 114300 w 114300"/>
                  <a:gd name="connsiteY1" fmla="*/ 281940 h 556260"/>
                  <a:gd name="connsiteX2" fmla="*/ 106680 w 114300"/>
                  <a:gd name="connsiteY2" fmla="*/ 236220 h 556260"/>
                  <a:gd name="connsiteX3" fmla="*/ 83820 w 114300"/>
                  <a:gd name="connsiteY3" fmla="*/ 213360 h 556260"/>
                  <a:gd name="connsiteX4" fmla="*/ 53340 w 114300"/>
                  <a:gd name="connsiteY4" fmla="*/ 152400 h 556260"/>
                  <a:gd name="connsiteX5" fmla="*/ 45720 w 114300"/>
                  <a:gd name="connsiteY5" fmla="*/ 129540 h 556260"/>
                  <a:gd name="connsiteX6" fmla="*/ 38100 w 114300"/>
                  <a:gd name="connsiteY6" fmla="*/ 99060 h 556260"/>
                  <a:gd name="connsiteX7" fmla="*/ 22860 w 114300"/>
                  <a:gd name="connsiteY7" fmla="*/ 68580 h 556260"/>
                  <a:gd name="connsiteX8" fmla="*/ 15240 w 114300"/>
                  <a:gd name="connsiteY8" fmla="*/ 38100 h 556260"/>
                  <a:gd name="connsiteX9" fmla="*/ 0 w 114300"/>
                  <a:gd name="connsiteY9" fmla="*/ 0 h 556260"/>
                  <a:gd name="connsiteX0" fmla="*/ 68691 w 99171"/>
                  <a:gd name="connsiteY0" fmla="*/ 815340 h 815340"/>
                  <a:gd name="connsiteX1" fmla="*/ 99171 w 99171"/>
                  <a:gd name="connsiteY1" fmla="*/ 541020 h 815340"/>
                  <a:gd name="connsiteX2" fmla="*/ 91551 w 99171"/>
                  <a:gd name="connsiteY2" fmla="*/ 495300 h 815340"/>
                  <a:gd name="connsiteX3" fmla="*/ 68691 w 99171"/>
                  <a:gd name="connsiteY3" fmla="*/ 472440 h 815340"/>
                  <a:gd name="connsiteX4" fmla="*/ 38211 w 99171"/>
                  <a:gd name="connsiteY4" fmla="*/ 411480 h 815340"/>
                  <a:gd name="connsiteX5" fmla="*/ 30591 w 99171"/>
                  <a:gd name="connsiteY5" fmla="*/ 388620 h 815340"/>
                  <a:gd name="connsiteX6" fmla="*/ 22971 w 99171"/>
                  <a:gd name="connsiteY6" fmla="*/ 358140 h 815340"/>
                  <a:gd name="connsiteX7" fmla="*/ 7731 w 99171"/>
                  <a:gd name="connsiteY7" fmla="*/ 327660 h 815340"/>
                  <a:gd name="connsiteX8" fmla="*/ 111 w 99171"/>
                  <a:gd name="connsiteY8" fmla="*/ 297180 h 815340"/>
                  <a:gd name="connsiteX9" fmla="*/ 111 w 99171"/>
                  <a:gd name="connsiteY9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38100 w 99060"/>
                  <a:gd name="connsiteY4" fmla="*/ 411480 h 815340"/>
                  <a:gd name="connsiteX5" fmla="*/ 30480 w 99060"/>
                  <a:gd name="connsiteY5" fmla="*/ 388620 h 815340"/>
                  <a:gd name="connsiteX6" fmla="*/ 22860 w 99060"/>
                  <a:gd name="connsiteY6" fmla="*/ 358140 h 815340"/>
                  <a:gd name="connsiteX7" fmla="*/ 7620 w 99060"/>
                  <a:gd name="connsiteY7" fmla="*/ 327660 h 815340"/>
                  <a:gd name="connsiteX8" fmla="*/ 0 w 99060"/>
                  <a:gd name="connsiteY8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38100 w 99060"/>
                  <a:gd name="connsiteY4" fmla="*/ 411480 h 815340"/>
                  <a:gd name="connsiteX5" fmla="*/ 30480 w 99060"/>
                  <a:gd name="connsiteY5" fmla="*/ 388620 h 815340"/>
                  <a:gd name="connsiteX6" fmla="*/ 22860 w 99060"/>
                  <a:gd name="connsiteY6" fmla="*/ 358140 h 815340"/>
                  <a:gd name="connsiteX7" fmla="*/ 0 w 99060"/>
                  <a:gd name="connsiteY7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38100 w 99060"/>
                  <a:gd name="connsiteY4" fmla="*/ 411480 h 815340"/>
                  <a:gd name="connsiteX5" fmla="*/ 30480 w 99060"/>
                  <a:gd name="connsiteY5" fmla="*/ 388620 h 815340"/>
                  <a:gd name="connsiteX6" fmla="*/ 0 w 99060"/>
                  <a:gd name="connsiteY6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38100 w 99060"/>
                  <a:gd name="connsiteY4" fmla="*/ 411480 h 815340"/>
                  <a:gd name="connsiteX5" fmla="*/ 0 w 99060"/>
                  <a:gd name="connsiteY5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0 w 99060"/>
                  <a:gd name="connsiteY4" fmla="*/ 0 h 815340"/>
                  <a:gd name="connsiteX0" fmla="*/ 68580 w 100575"/>
                  <a:gd name="connsiteY0" fmla="*/ 815340 h 815340"/>
                  <a:gd name="connsiteX1" fmla="*/ 99060 w 100575"/>
                  <a:gd name="connsiteY1" fmla="*/ 541020 h 815340"/>
                  <a:gd name="connsiteX2" fmla="*/ 91440 w 100575"/>
                  <a:gd name="connsiteY2" fmla="*/ 495300 h 815340"/>
                  <a:gd name="connsiteX3" fmla="*/ 0 w 100575"/>
                  <a:gd name="connsiteY3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0 w 99060"/>
                  <a:gd name="connsiteY2" fmla="*/ 0 h 815340"/>
                  <a:gd name="connsiteX0" fmla="*/ 220980 w 251460"/>
                  <a:gd name="connsiteY0" fmla="*/ 845820 h 845820"/>
                  <a:gd name="connsiteX1" fmla="*/ 251460 w 251460"/>
                  <a:gd name="connsiteY1" fmla="*/ 571500 h 845820"/>
                  <a:gd name="connsiteX2" fmla="*/ 0 w 251460"/>
                  <a:gd name="connsiteY2" fmla="*/ 0 h 845820"/>
                  <a:gd name="connsiteX0" fmla="*/ 220980 w 274320"/>
                  <a:gd name="connsiteY0" fmla="*/ 845820 h 845820"/>
                  <a:gd name="connsiteX1" fmla="*/ 274320 w 274320"/>
                  <a:gd name="connsiteY1" fmla="*/ 571500 h 845820"/>
                  <a:gd name="connsiteX2" fmla="*/ 0 w 274320"/>
                  <a:gd name="connsiteY2" fmla="*/ 0 h 845820"/>
                  <a:gd name="connsiteX0" fmla="*/ 220980 w 266700"/>
                  <a:gd name="connsiteY0" fmla="*/ 845820 h 845820"/>
                  <a:gd name="connsiteX1" fmla="*/ 266700 w 266700"/>
                  <a:gd name="connsiteY1" fmla="*/ 586740 h 845820"/>
                  <a:gd name="connsiteX2" fmla="*/ 0 w 266700"/>
                  <a:gd name="connsiteY2" fmla="*/ 0 h 845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6700" h="845820">
                    <a:moveTo>
                      <a:pt x="220980" y="845820"/>
                    </a:moveTo>
                    <a:cubicBezTo>
                      <a:pt x="227330" y="788670"/>
                      <a:pt x="262890" y="640080"/>
                      <a:pt x="266700" y="586740"/>
                    </a:cubicBezTo>
                    <a:cubicBezTo>
                      <a:pt x="255270" y="450850"/>
                      <a:pt x="20637" y="112712"/>
                      <a:pt x="0" y="0"/>
                    </a:cubicBezTo>
                  </a:path>
                </a:pathLst>
              </a:custGeom>
              <a:noFill/>
              <a:ln w="25400" cap="flat">
                <a:solidFill>
                  <a:srgbClr val="FF000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91439" tIns="45719" rIns="91439" bIns="45719" numCol="1" spcCol="38100" rtlCol="0" anchor="t">
                <a:no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endParaRPr>
              </a:p>
            </p:txBody>
          </p:sp>
        </p:grpSp>
        <p:sp>
          <p:nvSpPr>
            <p:cNvPr id="25" name="24 CuadroTexto"/>
            <p:cNvSpPr txBox="1"/>
            <p:nvPr/>
          </p:nvSpPr>
          <p:spPr>
            <a:xfrm>
              <a:off x="2809153" y="1185822"/>
              <a:ext cx="818658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MOJA</a:t>
              </a:r>
            </a:p>
          </p:txBody>
        </p:sp>
      </p:grpSp>
      <p:grpSp>
        <p:nvGrpSpPr>
          <p:cNvPr id="27" name="26 Grupo"/>
          <p:cNvGrpSpPr/>
          <p:nvPr/>
        </p:nvGrpSpPr>
        <p:grpSpPr>
          <a:xfrm>
            <a:off x="3449713" y="853440"/>
            <a:ext cx="818658" cy="755917"/>
            <a:chOff x="3449713" y="853440"/>
            <a:chExt cx="818658" cy="755917"/>
          </a:xfrm>
        </p:grpSpPr>
        <p:grpSp>
          <p:nvGrpSpPr>
            <p:cNvPr id="24" name="23 Grupo"/>
            <p:cNvGrpSpPr/>
            <p:nvPr/>
          </p:nvGrpSpPr>
          <p:grpSpPr>
            <a:xfrm>
              <a:off x="3491880" y="853440"/>
              <a:ext cx="234467" cy="755917"/>
              <a:chOff x="3491880" y="853440"/>
              <a:chExt cx="234467" cy="755917"/>
            </a:xfrm>
          </p:grpSpPr>
          <p:sp>
            <p:nvSpPr>
              <p:cNvPr id="18" name="17 Elipse"/>
              <p:cNvSpPr/>
              <p:nvPr/>
            </p:nvSpPr>
            <p:spPr>
              <a:xfrm>
                <a:off x="3491880" y="1563638"/>
                <a:ext cx="45719" cy="45719"/>
              </a:xfrm>
              <a:prstGeom prst="ellipse">
                <a:avLst/>
              </a:prstGeom>
              <a:solidFill>
                <a:srgbClr val="00B050"/>
              </a:solidFill>
              <a:ln w="25400" cap="flat">
                <a:solidFill>
                  <a:srgbClr val="00B05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595959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" name="18 Elipse"/>
              <p:cNvSpPr/>
              <p:nvPr/>
            </p:nvSpPr>
            <p:spPr>
              <a:xfrm>
                <a:off x="3571509" y="1301895"/>
                <a:ext cx="45719" cy="45719"/>
              </a:xfrm>
              <a:prstGeom prst="ellipse">
                <a:avLst/>
              </a:prstGeom>
              <a:solidFill>
                <a:srgbClr val="00B050"/>
              </a:solidFill>
              <a:ln w="25400" cap="flat">
                <a:solidFill>
                  <a:srgbClr val="00B05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595959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22" name="21 Conector recto"/>
              <p:cNvCxnSpPr>
                <a:stCxn id="18" idx="4"/>
              </p:cNvCxnSpPr>
              <p:nvPr/>
            </p:nvCxnSpPr>
            <p:spPr>
              <a:xfrm flipV="1">
                <a:off x="3514740" y="853440"/>
                <a:ext cx="211607" cy="755917"/>
              </a:xfrm>
              <a:prstGeom prst="line">
                <a:avLst/>
              </a:prstGeom>
              <a:noFill/>
              <a:ln w="25400" cap="flat">
                <a:solidFill>
                  <a:srgbClr val="00B050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sp>
          <p:nvSpPr>
            <p:cNvPr id="26" name="25 CuadroTexto"/>
            <p:cNvSpPr txBox="1"/>
            <p:nvPr/>
          </p:nvSpPr>
          <p:spPr>
            <a:xfrm>
              <a:off x="3449713" y="1075217"/>
              <a:ext cx="818658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rgbClr val="00B05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ALM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9764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fld id="{83A71AD1-32BC-4F0F-9A04-F58C79912691}" type="slidenum">
              <a:rPr lang="es-CO" smtClean="0"/>
              <a:t>5</a:t>
            </a:fld>
            <a:endParaRPr lang="es-CO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z="24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DESCRIPCIÓN DEL EVENTO</a:t>
            </a:r>
          </a:p>
        </p:txBody>
      </p:sp>
      <p:sp>
        <p:nvSpPr>
          <p:cNvPr id="2" name="1 Marcador de texto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CO" dirty="0"/>
              <a:t>1</a:t>
            </a:r>
          </a:p>
        </p:txBody>
      </p:sp>
      <p:pic>
        <p:nvPicPr>
          <p:cNvPr id="7" name="6 Marcador de contenido"/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900" y="821431"/>
            <a:ext cx="6962775" cy="3943350"/>
          </a:xfrm>
          <a:prstGeom prst="rect">
            <a:avLst/>
          </a:prstGeom>
        </p:spPr>
      </p:pic>
      <p:grpSp>
        <p:nvGrpSpPr>
          <p:cNvPr id="31" name="30 Grupo"/>
          <p:cNvGrpSpPr/>
          <p:nvPr/>
        </p:nvGrpSpPr>
        <p:grpSpPr>
          <a:xfrm>
            <a:off x="5600700" y="853440"/>
            <a:ext cx="1196340" cy="3931920"/>
            <a:chOff x="5600700" y="853440"/>
            <a:chExt cx="1196340" cy="3931920"/>
          </a:xfrm>
        </p:grpSpPr>
        <p:sp>
          <p:nvSpPr>
            <p:cNvPr id="13" name="12 Forma libre"/>
            <p:cNvSpPr/>
            <p:nvPr/>
          </p:nvSpPr>
          <p:spPr>
            <a:xfrm>
              <a:off x="5600700" y="853440"/>
              <a:ext cx="1196340" cy="3931920"/>
            </a:xfrm>
            <a:custGeom>
              <a:avLst/>
              <a:gdLst>
                <a:gd name="connsiteX0" fmla="*/ 1120140 w 1196340"/>
                <a:gd name="connsiteY0" fmla="*/ 3924300 h 3931920"/>
                <a:gd name="connsiteX1" fmla="*/ 1158240 w 1196340"/>
                <a:gd name="connsiteY1" fmla="*/ 3710940 h 3931920"/>
                <a:gd name="connsiteX2" fmla="*/ 1196340 w 1196340"/>
                <a:gd name="connsiteY2" fmla="*/ 3558540 h 3931920"/>
                <a:gd name="connsiteX3" fmla="*/ 1188720 w 1196340"/>
                <a:gd name="connsiteY3" fmla="*/ 3383280 h 3931920"/>
                <a:gd name="connsiteX4" fmla="*/ 1181100 w 1196340"/>
                <a:gd name="connsiteY4" fmla="*/ 3177540 h 3931920"/>
                <a:gd name="connsiteX5" fmla="*/ 1173480 w 1196340"/>
                <a:gd name="connsiteY5" fmla="*/ 3009900 h 3931920"/>
                <a:gd name="connsiteX6" fmla="*/ 1112520 w 1196340"/>
                <a:gd name="connsiteY6" fmla="*/ 2849880 h 3931920"/>
                <a:gd name="connsiteX7" fmla="*/ 1066800 w 1196340"/>
                <a:gd name="connsiteY7" fmla="*/ 2651760 h 3931920"/>
                <a:gd name="connsiteX8" fmla="*/ 1013460 w 1196340"/>
                <a:gd name="connsiteY8" fmla="*/ 2552700 h 3931920"/>
                <a:gd name="connsiteX9" fmla="*/ 1013460 w 1196340"/>
                <a:gd name="connsiteY9" fmla="*/ 2407920 h 3931920"/>
                <a:gd name="connsiteX10" fmla="*/ 1021080 w 1196340"/>
                <a:gd name="connsiteY10" fmla="*/ 2339340 h 3931920"/>
                <a:gd name="connsiteX11" fmla="*/ 1089660 w 1196340"/>
                <a:gd name="connsiteY11" fmla="*/ 2278380 h 3931920"/>
                <a:gd name="connsiteX12" fmla="*/ 1112520 w 1196340"/>
                <a:gd name="connsiteY12" fmla="*/ 2171700 h 3931920"/>
                <a:gd name="connsiteX13" fmla="*/ 1097280 w 1196340"/>
                <a:gd name="connsiteY13" fmla="*/ 1950720 h 3931920"/>
                <a:gd name="connsiteX14" fmla="*/ 1043940 w 1196340"/>
                <a:gd name="connsiteY14" fmla="*/ 1805940 h 3931920"/>
                <a:gd name="connsiteX15" fmla="*/ 1074420 w 1196340"/>
                <a:gd name="connsiteY15" fmla="*/ 1546860 h 3931920"/>
                <a:gd name="connsiteX16" fmla="*/ 1043940 w 1196340"/>
                <a:gd name="connsiteY16" fmla="*/ 1356360 h 3931920"/>
                <a:gd name="connsiteX17" fmla="*/ 960120 w 1196340"/>
                <a:gd name="connsiteY17" fmla="*/ 1295400 h 3931920"/>
                <a:gd name="connsiteX18" fmla="*/ 944880 w 1196340"/>
                <a:gd name="connsiteY18" fmla="*/ 1181100 h 3931920"/>
                <a:gd name="connsiteX19" fmla="*/ 807720 w 1196340"/>
                <a:gd name="connsiteY19" fmla="*/ 1043940 h 3931920"/>
                <a:gd name="connsiteX20" fmla="*/ 693420 w 1196340"/>
                <a:gd name="connsiteY20" fmla="*/ 967740 h 3931920"/>
                <a:gd name="connsiteX21" fmla="*/ 624840 w 1196340"/>
                <a:gd name="connsiteY21" fmla="*/ 800100 h 3931920"/>
                <a:gd name="connsiteX22" fmla="*/ 556260 w 1196340"/>
                <a:gd name="connsiteY22" fmla="*/ 617220 h 3931920"/>
                <a:gd name="connsiteX23" fmla="*/ 510540 w 1196340"/>
                <a:gd name="connsiteY23" fmla="*/ 487680 h 3931920"/>
                <a:gd name="connsiteX24" fmla="*/ 510540 w 1196340"/>
                <a:gd name="connsiteY24" fmla="*/ 365760 h 3931920"/>
                <a:gd name="connsiteX25" fmla="*/ 502920 w 1196340"/>
                <a:gd name="connsiteY25" fmla="*/ 228600 h 3931920"/>
                <a:gd name="connsiteX26" fmla="*/ 426720 w 1196340"/>
                <a:gd name="connsiteY26" fmla="*/ 114300 h 3931920"/>
                <a:gd name="connsiteX27" fmla="*/ 304800 w 1196340"/>
                <a:gd name="connsiteY27" fmla="*/ 53340 h 3931920"/>
                <a:gd name="connsiteX28" fmla="*/ 297180 w 1196340"/>
                <a:gd name="connsiteY28" fmla="*/ 0 h 3931920"/>
                <a:gd name="connsiteX29" fmla="*/ 60960 w 1196340"/>
                <a:gd name="connsiteY29" fmla="*/ 0 h 3931920"/>
                <a:gd name="connsiteX30" fmla="*/ 0 w 1196340"/>
                <a:gd name="connsiteY30" fmla="*/ 83820 h 3931920"/>
                <a:gd name="connsiteX31" fmla="*/ 15240 w 1196340"/>
                <a:gd name="connsiteY31" fmla="*/ 182880 h 3931920"/>
                <a:gd name="connsiteX32" fmla="*/ 22860 w 1196340"/>
                <a:gd name="connsiteY32" fmla="*/ 342900 h 3931920"/>
                <a:gd name="connsiteX33" fmla="*/ 22860 w 1196340"/>
                <a:gd name="connsiteY33" fmla="*/ 464820 h 3931920"/>
                <a:gd name="connsiteX34" fmla="*/ 83820 w 1196340"/>
                <a:gd name="connsiteY34" fmla="*/ 678180 h 3931920"/>
                <a:gd name="connsiteX35" fmla="*/ 144780 w 1196340"/>
                <a:gd name="connsiteY35" fmla="*/ 838200 h 3931920"/>
                <a:gd name="connsiteX36" fmla="*/ 175260 w 1196340"/>
                <a:gd name="connsiteY36" fmla="*/ 937260 h 3931920"/>
                <a:gd name="connsiteX37" fmla="*/ 251460 w 1196340"/>
                <a:gd name="connsiteY37" fmla="*/ 998220 h 3931920"/>
                <a:gd name="connsiteX38" fmla="*/ 342900 w 1196340"/>
                <a:gd name="connsiteY38" fmla="*/ 1036320 h 3931920"/>
                <a:gd name="connsiteX39" fmla="*/ 373380 w 1196340"/>
                <a:gd name="connsiteY39" fmla="*/ 1143000 h 3931920"/>
                <a:gd name="connsiteX40" fmla="*/ 441960 w 1196340"/>
                <a:gd name="connsiteY40" fmla="*/ 1424940 h 3931920"/>
                <a:gd name="connsiteX41" fmla="*/ 548640 w 1196340"/>
                <a:gd name="connsiteY41" fmla="*/ 1630680 h 3931920"/>
                <a:gd name="connsiteX42" fmla="*/ 678180 w 1196340"/>
                <a:gd name="connsiteY42" fmla="*/ 1775460 h 3931920"/>
                <a:gd name="connsiteX43" fmla="*/ 739140 w 1196340"/>
                <a:gd name="connsiteY43" fmla="*/ 1905000 h 3931920"/>
                <a:gd name="connsiteX44" fmla="*/ 815340 w 1196340"/>
                <a:gd name="connsiteY44" fmla="*/ 2110740 h 3931920"/>
                <a:gd name="connsiteX45" fmla="*/ 830580 w 1196340"/>
                <a:gd name="connsiteY45" fmla="*/ 2194560 h 3931920"/>
                <a:gd name="connsiteX46" fmla="*/ 792480 w 1196340"/>
                <a:gd name="connsiteY46" fmla="*/ 2354580 h 3931920"/>
                <a:gd name="connsiteX47" fmla="*/ 769620 w 1196340"/>
                <a:gd name="connsiteY47" fmla="*/ 2446020 h 3931920"/>
                <a:gd name="connsiteX48" fmla="*/ 762000 w 1196340"/>
                <a:gd name="connsiteY48" fmla="*/ 2499360 h 3931920"/>
                <a:gd name="connsiteX49" fmla="*/ 762000 w 1196340"/>
                <a:gd name="connsiteY49" fmla="*/ 2552700 h 3931920"/>
                <a:gd name="connsiteX50" fmla="*/ 762000 w 1196340"/>
                <a:gd name="connsiteY50" fmla="*/ 2636520 h 3931920"/>
                <a:gd name="connsiteX51" fmla="*/ 746760 w 1196340"/>
                <a:gd name="connsiteY51" fmla="*/ 2766060 h 3931920"/>
                <a:gd name="connsiteX52" fmla="*/ 731520 w 1196340"/>
                <a:gd name="connsiteY52" fmla="*/ 2941320 h 3931920"/>
                <a:gd name="connsiteX53" fmla="*/ 678180 w 1196340"/>
                <a:gd name="connsiteY53" fmla="*/ 3032760 h 3931920"/>
                <a:gd name="connsiteX54" fmla="*/ 685800 w 1196340"/>
                <a:gd name="connsiteY54" fmla="*/ 3108960 h 3931920"/>
                <a:gd name="connsiteX55" fmla="*/ 647700 w 1196340"/>
                <a:gd name="connsiteY55" fmla="*/ 3368040 h 3931920"/>
                <a:gd name="connsiteX56" fmla="*/ 655320 w 1196340"/>
                <a:gd name="connsiteY56" fmla="*/ 3512820 h 3931920"/>
                <a:gd name="connsiteX57" fmla="*/ 678180 w 1196340"/>
                <a:gd name="connsiteY57" fmla="*/ 3703320 h 3931920"/>
                <a:gd name="connsiteX58" fmla="*/ 739140 w 1196340"/>
                <a:gd name="connsiteY58" fmla="*/ 3810000 h 3931920"/>
                <a:gd name="connsiteX59" fmla="*/ 746760 w 1196340"/>
                <a:gd name="connsiteY59" fmla="*/ 3855720 h 3931920"/>
                <a:gd name="connsiteX60" fmla="*/ 731520 w 1196340"/>
                <a:gd name="connsiteY60" fmla="*/ 3931920 h 3931920"/>
                <a:gd name="connsiteX61" fmla="*/ 1120140 w 1196340"/>
                <a:gd name="connsiteY61" fmla="*/ 3924300 h 393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196340" h="3931920">
                  <a:moveTo>
                    <a:pt x="1120140" y="3924300"/>
                  </a:moveTo>
                  <a:lnTo>
                    <a:pt x="1158240" y="3710940"/>
                  </a:lnTo>
                  <a:lnTo>
                    <a:pt x="1196340" y="3558540"/>
                  </a:lnTo>
                  <a:lnTo>
                    <a:pt x="1188720" y="3383280"/>
                  </a:lnTo>
                  <a:lnTo>
                    <a:pt x="1181100" y="3177540"/>
                  </a:lnTo>
                  <a:lnTo>
                    <a:pt x="1173480" y="3009900"/>
                  </a:lnTo>
                  <a:lnTo>
                    <a:pt x="1112520" y="2849880"/>
                  </a:lnTo>
                  <a:lnTo>
                    <a:pt x="1066800" y="2651760"/>
                  </a:lnTo>
                  <a:lnTo>
                    <a:pt x="1013460" y="2552700"/>
                  </a:lnTo>
                  <a:lnTo>
                    <a:pt x="1013460" y="2407920"/>
                  </a:lnTo>
                  <a:lnTo>
                    <a:pt x="1021080" y="2339340"/>
                  </a:lnTo>
                  <a:lnTo>
                    <a:pt x="1089660" y="2278380"/>
                  </a:lnTo>
                  <a:lnTo>
                    <a:pt x="1112520" y="2171700"/>
                  </a:lnTo>
                  <a:lnTo>
                    <a:pt x="1097280" y="1950720"/>
                  </a:lnTo>
                  <a:lnTo>
                    <a:pt x="1043940" y="1805940"/>
                  </a:lnTo>
                  <a:lnTo>
                    <a:pt x="1074420" y="1546860"/>
                  </a:lnTo>
                  <a:lnTo>
                    <a:pt x="1043940" y="1356360"/>
                  </a:lnTo>
                  <a:lnTo>
                    <a:pt x="960120" y="1295400"/>
                  </a:lnTo>
                  <a:lnTo>
                    <a:pt x="944880" y="1181100"/>
                  </a:lnTo>
                  <a:lnTo>
                    <a:pt x="807720" y="1043940"/>
                  </a:lnTo>
                  <a:lnTo>
                    <a:pt x="693420" y="967740"/>
                  </a:lnTo>
                  <a:lnTo>
                    <a:pt x="624840" y="800100"/>
                  </a:lnTo>
                  <a:lnTo>
                    <a:pt x="556260" y="617220"/>
                  </a:lnTo>
                  <a:lnTo>
                    <a:pt x="510540" y="487680"/>
                  </a:lnTo>
                  <a:lnTo>
                    <a:pt x="510540" y="365760"/>
                  </a:lnTo>
                  <a:lnTo>
                    <a:pt x="502920" y="228600"/>
                  </a:lnTo>
                  <a:lnTo>
                    <a:pt x="426720" y="114300"/>
                  </a:lnTo>
                  <a:lnTo>
                    <a:pt x="304800" y="53340"/>
                  </a:lnTo>
                  <a:lnTo>
                    <a:pt x="297180" y="0"/>
                  </a:lnTo>
                  <a:lnTo>
                    <a:pt x="60960" y="0"/>
                  </a:lnTo>
                  <a:lnTo>
                    <a:pt x="0" y="83820"/>
                  </a:lnTo>
                  <a:lnTo>
                    <a:pt x="15240" y="182880"/>
                  </a:lnTo>
                  <a:lnTo>
                    <a:pt x="22860" y="342900"/>
                  </a:lnTo>
                  <a:lnTo>
                    <a:pt x="22860" y="464820"/>
                  </a:lnTo>
                  <a:lnTo>
                    <a:pt x="83820" y="678180"/>
                  </a:lnTo>
                  <a:lnTo>
                    <a:pt x="144780" y="838200"/>
                  </a:lnTo>
                  <a:lnTo>
                    <a:pt x="175260" y="937260"/>
                  </a:lnTo>
                  <a:lnTo>
                    <a:pt x="251460" y="998220"/>
                  </a:lnTo>
                  <a:lnTo>
                    <a:pt x="342900" y="1036320"/>
                  </a:lnTo>
                  <a:lnTo>
                    <a:pt x="373380" y="1143000"/>
                  </a:lnTo>
                  <a:lnTo>
                    <a:pt x="441960" y="1424940"/>
                  </a:lnTo>
                  <a:lnTo>
                    <a:pt x="548640" y="1630680"/>
                  </a:lnTo>
                  <a:lnTo>
                    <a:pt x="678180" y="1775460"/>
                  </a:lnTo>
                  <a:lnTo>
                    <a:pt x="739140" y="1905000"/>
                  </a:lnTo>
                  <a:lnTo>
                    <a:pt x="815340" y="2110740"/>
                  </a:lnTo>
                  <a:lnTo>
                    <a:pt x="830580" y="2194560"/>
                  </a:lnTo>
                  <a:lnTo>
                    <a:pt x="792480" y="2354580"/>
                  </a:lnTo>
                  <a:lnTo>
                    <a:pt x="769620" y="2446020"/>
                  </a:lnTo>
                  <a:lnTo>
                    <a:pt x="762000" y="2499360"/>
                  </a:lnTo>
                  <a:lnTo>
                    <a:pt x="762000" y="2552700"/>
                  </a:lnTo>
                  <a:lnTo>
                    <a:pt x="762000" y="2636520"/>
                  </a:lnTo>
                  <a:lnTo>
                    <a:pt x="746760" y="2766060"/>
                  </a:lnTo>
                  <a:lnTo>
                    <a:pt x="731520" y="2941320"/>
                  </a:lnTo>
                  <a:lnTo>
                    <a:pt x="678180" y="3032760"/>
                  </a:lnTo>
                  <a:lnTo>
                    <a:pt x="685800" y="3108960"/>
                  </a:lnTo>
                  <a:lnTo>
                    <a:pt x="647700" y="3368040"/>
                  </a:lnTo>
                  <a:lnTo>
                    <a:pt x="655320" y="3512820"/>
                  </a:lnTo>
                  <a:lnTo>
                    <a:pt x="678180" y="3703320"/>
                  </a:lnTo>
                  <a:lnTo>
                    <a:pt x="739140" y="3810000"/>
                  </a:lnTo>
                  <a:lnTo>
                    <a:pt x="746760" y="3855720"/>
                  </a:lnTo>
                  <a:lnTo>
                    <a:pt x="731520" y="3931920"/>
                  </a:lnTo>
                  <a:lnTo>
                    <a:pt x="1120140" y="39243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21000"/>
              </a:schemeClr>
            </a:solidFill>
            <a:ln w="25400" cap="flat">
              <a:solidFill>
                <a:schemeClr val="accent1">
                  <a:lumMod val="40000"/>
                  <a:lumOff val="60000"/>
                </a:schemeClr>
              </a:solidFill>
              <a:prstDash val="sysDot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O" sz="1800" b="0" i="0" u="none" strike="noStrike" cap="none" spc="0" normalizeH="0" baseline="0">
                <a:ln>
                  <a:noFill/>
                </a:ln>
                <a:solidFill>
                  <a:srgbClr val="595959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14 CuadroTexto"/>
            <p:cNvSpPr txBox="1"/>
            <p:nvPr/>
          </p:nvSpPr>
          <p:spPr>
            <a:xfrm rot="4099009">
              <a:off x="5634419" y="2301367"/>
              <a:ext cx="1498706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Río Mocoa</a:t>
              </a:r>
            </a:p>
          </p:txBody>
        </p:sp>
      </p:grpSp>
      <p:sp>
        <p:nvSpPr>
          <p:cNvPr id="3" name="2 Forma libre"/>
          <p:cNvSpPr/>
          <p:nvPr/>
        </p:nvSpPr>
        <p:spPr>
          <a:xfrm>
            <a:off x="2743200" y="844659"/>
            <a:ext cx="3767138" cy="3946360"/>
          </a:xfrm>
          <a:custGeom>
            <a:avLst/>
            <a:gdLst>
              <a:gd name="connsiteX0" fmla="*/ 69742 w 3828081"/>
              <a:gd name="connsiteY0" fmla="*/ 0 h 3944318"/>
              <a:gd name="connsiteX1" fmla="*/ 240224 w 3828081"/>
              <a:gd name="connsiteY1" fmla="*/ 85240 h 3944318"/>
              <a:gd name="connsiteX2" fmla="*/ 348712 w 3828081"/>
              <a:gd name="connsiteY2" fmla="*/ 154983 h 3944318"/>
              <a:gd name="connsiteX3" fmla="*/ 464949 w 3828081"/>
              <a:gd name="connsiteY3" fmla="*/ 240223 h 3944318"/>
              <a:gd name="connsiteX4" fmla="*/ 511444 w 3828081"/>
              <a:gd name="connsiteY4" fmla="*/ 356461 h 3944318"/>
              <a:gd name="connsiteX5" fmla="*/ 550190 w 3828081"/>
              <a:gd name="connsiteY5" fmla="*/ 433952 h 3944318"/>
              <a:gd name="connsiteX6" fmla="*/ 697424 w 3828081"/>
              <a:gd name="connsiteY6" fmla="*/ 650928 h 3944318"/>
              <a:gd name="connsiteX7" fmla="*/ 844658 w 3828081"/>
              <a:gd name="connsiteY7" fmla="*/ 798162 h 3944318"/>
              <a:gd name="connsiteX8" fmla="*/ 1030637 w 3828081"/>
              <a:gd name="connsiteY8" fmla="*/ 1022888 h 3944318"/>
              <a:gd name="connsiteX9" fmla="*/ 1123627 w 3828081"/>
              <a:gd name="connsiteY9" fmla="*/ 1208867 h 3944318"/>
              <a:gd name="connsiteX10" fmla="*/ 1170122 w 3828081"/>
              <a:gd name="connsiteY10" fmla="*/ 1363850 h 3944318"/>
              <a:gd name="connsiteX11" fmla="*/ 1325105 w 3828081"/>
              <a:gd name="connsiteY11" fmla="*/ 1898542 h 3944318"/>
              <a:gd name="connsiteX12" fmla="*/ 1340603 w 3828081"/>
              <a:gd name="connsiteY12" fmla="*/ 2378989 h 3944318"/>
              <a:gd name="connsiteX13" fmla="*/ 1394847 w 3828081"/>
              <a:gd name="connsiteY13" fmla="*/ 2580467 h 3944318"/>
              <a:gd name="connsiteX14" fmla="*/ 1526583 w 3828081"/>
              <a:gd name="connsiteY14" fmla="*/ 2805193 h 3944318"/>
              <a:gd name="connsiteX15" fmla="*/ 1673817 w 3828081"/>
              <a:gd name="connsiteY15" fmla="*/ 3045417 h 3944318"/>
              <a:gd name="connsiteX16" fmla="*/ 1968285 w 3828081"/>
              <a:gd name="connsiteY16" fmla="*/ 3277891 h 3944318"/>
              <a:gd name="connsiteX17" fmla="*/ 2402237 w 3828081"/>
              <a:gd name="connsiteY17" fmla="*/ 3448373 h 3944318"/>
              <a:gd name="connsiteX18" fmla="*/ 2766447 w 3828081"/>
              <a:gd name="connsiteY18" fmla="*/ 3634352 h 3944318"/>
              <a:gd name="connsiteX19" fmla="*/ 3479369 w 3828081"/>
              <a:gd name="connsiteY19" fmla="*/ 3541362 h 3944318"/>
              <a:gd name="connsiteX20" fmla="*/ 3735092 w 3828081"/>
              <a:gd name="connsiteY20" fmla="*/ 3587857 h 3944318"/>
              <a:gd name="connsiteX21" fmla="*/ 3828081 w 3828081"/>
              <a:gd name="connsiteY21" fmla="*/ 3913322 h 3944318"/>
              <a:gd name="connsiteX22" fmla="*/ 3626603 w 3828081"/>
              <a:gd name="connsiteY22" fmla="*/ 3944318 h 3944318"/>
              <a:gd name="connsiteX23" fmla="*/ 2588217 w 3828081"/>
              <a:gd name="connsiteY23" fmla="*/ 3928820 h 3944318"/>
              <a:gd name="connsiteX24" fmla="*/ 2518475 w 3828081"/>
              <a:gd name="connsiteY24" fmla="*/ 3758339 h 3944318"/>
              <a:gd name="connsiteX25" fmla="*/ 2347993 w 3828081"/>
              <a:gd name="connsiteY25" fmla="*/ 3688596 h 3944318"/>
              <a:gd name="connsiteX26" fmla="*/ 2123268 w 3828081"/>
              <a:gd name="connsiteY26" fmla="*/ 3642101 h 3944318"/>
              <a:gd name="connsiteX27" fmla="*/ 2014780 w 3828081"/>
              <a:gd name="connsiteY27" fmla="*/ 3556861 h 3944318"/>
              <a:gd name="connsiteX28" fmla="*/ 1836549 w 3828081"/>
              <a:gd name="connsiteY28" fmla="*/ 3518115 h 3944318"/>
              <a:gd name="connsiteX29" fmla="*/ 1697064 w 3828081"/>
              <a:gd name="connsiteY29" fmla="*/ 3386379 h 3944318"/>
              <a:gd name="connsiteX30" fmla="*/ 1495586 w 3828081"/>
              <a:gd name="connsiteY30" fmla="*/ 3254644 h 3944318"/>
              <a:gd name="connsiteX31" fmla="*/ 1402597 w 3828081"/>
              <a:gd name="connsiteY31" fmla="*/ 3277891 h 3944318"/>
              <a:gd name="connsiteX32" fmla="*/ 1371600 w 3828081"/>
              <a:gd name="connsiteY32" fmla="*/ 3277891 h 3944318"/>
              <a:gd name="connsiteX33" fmla="*/ 1340603 w 3828081"/>
              <a:gd name="connsiteY33" fmla="*/ 3184901 h 3944318"/>
              <a:gd name="connsiteX34" fmla="*/ 1340603 w 3828081"/>
              <a:gd name="connsiteY34" fmla="*/ 3091911 h 3944318"/>
              <a:gd name="connsiteX35" fmla="*/ 1294108 w 3828081"/>
              <a:gd name="connsiteY35" fmla="*/ 2998922 h 3944318"/>
              <a:gd name="connsiteX36" fmla="*/ 1247614 w 3828081"/>
              <a:gd name="connsiteY36" fmla="*/ 2983423 h 3944318"/>
              <a:gd name="connsiteX37" fmla="*/ 1030637 w 3828081"/>
              <a:gd name="connsiteY37" fmla="*/ 2820691 h 3944318"/>
              <a:gd name="connsiteX38" fmla="*/ 991892 w 3828081"/>
              <a:gd name="connsiteY38" fmla="*/ 2440983 h 3944318"/>
              <a:gd name="connsiteX39" fmla="*/ 922149 w 3828081"/>
              <a:gd name="connsiteY39" fmla="*/ 2053525 h 3944318"/>
              <a:gd name="connsiteX40" fmla="*/ 743919 w 3828081"/>
              <a:gd name="connsiteY40" fmla="*/ 1805552 h 3944318"/>
              <a:gd name="connsiteX41" fmla="*/ 581186 w 3828081"/>
              <a:gd name="connsiteY41" fmla="*/ 1565328 h 3944318"/>
              <a:gd name="connsiteX42" fmla="*/ 402956 w 3828081"/>
              <a:gd name="connsiteY42" fmla="*/ 1294108 h 3944318"/>
              <a:gd name="connsiteX43" fmla="*/ 263471 w 3828081"/>
              <a:gd name="connsiteY43" fmla="*/ 813661 h 3944318"/>
              <a:gd name="connsiteX44" fmla="*/ 263471 w 3828081"/>
              <a:gd name="connsiteY44" fmla="*/ 619932 h 3944318"/>
              <a:gd name="connsiteX45" fmla="*/ 317715 w 3828081"/>
              <a:gd name="connsiteY45" fmla="*/ 333213 h 3944318"/>
              <a:gd name="connsiteX46" fmla="*/ 271220 w 3828081"/>
              <a:gd name="connsiteY46" fmla="*/ 263471 h 3944318"/>
              <a:gd name="connsiteX47" fmla="*/ 69742 w 3828081"/>
              <a:gd name="connsiteY47" fmla="*/ 162732 h 3944318"/>
              <a:gd name="connsiteX48" fmla="*/ 0 w 3828081"/>
              <a:gd name="connsiteY48" fmla="*/ 23247 h 3944318"/>
              <a:gd name="connsiteX49" fmla="*/ 69742 w 3828081"/>
              <a:gd name="connsiteY49" fmla="*/ 0 h 3944318"/>
              <a:gd name="connsiteX0" fmla="*/ 69742 w 3828081"/>
              <a:gd name="connsiteY0" fmla="*/ 0 h 3944318"/>
              <a:gd name="connsiteX1" fmla="*/ 240224 w 3828081"/>
              <a:gd name="connsiteY1" fmla="*/ 85240 h 3944318"/>
              <a:gd name="connsiteX2" fmla="*/ 348712 w 3828081"/>
              <a:gd name="connsiteY2" fmla="*/ 154983 h 3944318"/>
              <a:gd name="connsiteX3" fmla="*/ 464949 w 3828081"/>
              <a:gd name="connsiteY3" fmla="*/ 240223 h 3944318"/>
              <a:gd name="connsiteX4" fmla="*/ 511444 w 3828081"/>
              <a:gd name="connsiteY4" fmla="*/ 356461 h 3944318"/>
              <a:gd name="connsiteX5" fmla="*/ 550190 w 3828081"/>
              <a:gd name="connsiteY5" fmla="*/ 433952 h 3944318"/>
              <a:gd name="connsiteX6" fmla="*/ 697424 w 3828081"/>
              <a:gd name="connsiteY6" fmla="*/ 650928 h 3944318"/>
              <a:gd name="connsiteX7" fmla="*/ 844658 w 3828081"/>
              <a:gd name="connsiteY7" fmla="*/ 798162 h 3944318"/>
              <a:gd name="connsiteX8" fmla="*/ 1030637 w 3828081"/>
              <a:gd name="connsiteY8" fmla="*/ 1022888 h 3944318"/>
              <a:gd name="connsiteX9" fmla="*/ 1123627 w 3828081"/>
              <a:gd name="connsiteY9" fmla="*/ 1208867 h 3944318"/>
              <a:gd name="connsiteX10" fmla="*/ 1170122 w 3828081"/>
              <a:gd name="connsiteY10" fmla="*/ 1363850 h 3944318"/>
              <a:gd name="connsiteX11" fmla="*/ 1325105 w 3828081"/>
              <a:gd name="connsiteY11" fmla="*/ 1898542 h 3944318"/>
              <a:gd name="connsiteX12" fmla="*/ 1340603 w 3828081"/>
              <a:gd name="connsiteY12" fmla="*/ 2378989 h 3944318"/>
              <a:gd name="connsiteX13" fmla="*/ 1394847 w 3828081"/>
              <a:gd name="connsiteY13" fmla="*/ 2580467 h 3944318"/>
              <a:gd name="connsiteX14" fmla="*/ 1526583 w 3828081"/>
              <a:gd name="connsiteY14" fmla="*/ 2805193 h 3944318"/>
              <a:gd name="connsiteX15" fmla="*/ 1673817 w 3828081"/>
              <a:gd name="connsiteY15" fmla="*/ 3045417 h 3944318"/>
              <a:gd name="connsiteX16" fmla="*/ 1968285 w 3828081"/>
              <a:gd name="connsiteY16" fmla="*/ 3277891 h 3944318"/>
              <a:gd name="connsiteX17" fmla="*/ 2402237 w 3828081"/>
              <a:gd name="connsiteY17" fmla="*/ 3448373 h 3944318"/>
              <a:gd name="connsiteX18" fmla="*/ 2766447 w 3828081"/>
              <a:gd name="connsiteY18" fmla="*/ 3634352 h 3944318"/>
              <a:gd name="connsiteX19" fmla="*/ 3479369 w 3828081"/>
              <a:gd name="connsiteY19" fmla="*/ 3541362 h 3944318"/>
              <a:gd name="connsiteX20" fmla="*/ 3692229 w 3828081"/>
              <a:gd name="connsiteY20" fmla="*/ 3583095 h 3944318"/>
              <a:gd name="connsiteX21" fmla="*/ 3828081 w 3828081"/>
              <a:gd name="connsiteY21" fmla="*/ 3913322 h 3944318"/>
              <a:gd name="connsiteX22" fmla="*/ 3626603 w 3828081"/>
              <a:gd name="connsiteY22" fmla="*/ 3944318 h 3944318"/>
              <a:gd name="connsiteX23" fmla="*/ 2588217 w 3828081"/>
              <a:gd name="connsiteY23" fmla="*/ 3928820 h 3944318"/>
              <a:gd name="connsiteX24" fmla="*/ 2518475 w 3828081"/>
              <a:gd name="connsiteY24" fmla="*/ 3758339 h 3944318"/>
              <a:gd name="connsiteX25" fmla="*/ 2347993 w 3828081"/>
              <a:gd name="connsiteY25" fmla="*/ 3688596 h 3944318"/>
              <a:gd name="connsiteX26" fmla="*/ 2123268 w 3828081"/>
              <a:gd name="connsiteY26" fmla="*/ 3642101 h 3944318"/>
              <a:gd name="connsiteX27" fmla="*/ 2014780 w 3828081"/>
              <a:gd name="connsiteY27" fmla="*/ 3556861 h 3944318"/>
              <a:gd name="connsiteX28" fmla="*/ 1836549 w 3828081"/>
              <a:gd name="connsiteY28" fmla="*/ 3518115 h 3944318"/>
              <a:gd name="connsiteX29" fmla="*/ 1697064 w 3828081"/>
              <a:gd name="connsiteY29" fmla="*/ 3386379 h 3944318"/>
              <a:gd name="connsiteX30" fmla="*/ 1495586 w 3828081"/>
              <a:gd name="connsiteY30" fmla="*/ 3254644 h 3944318"/>
              <a:gd name="connsiteX31" fmla="*/ 1402597 w 3828081"/>
              <a:gd name="connsiteY31" fmla="*/ 3277891 h 3944318"/>
              <a:gd name="connsiteX32" fmla="*/ 1371600 w 3828081"/>
              <a:gd name="connsiteY32" fmla="*/ 3277891 h 3944318"/>
              <a:gd name="connsiteX33" fmla="*/ 1340603 w 3828081"/>
              <a:gd name="connsiteY33" fmla="*/ 3184901 h 3944318"/>
              <a:gd name="connsiteX34" fmla="*/ 1340603 w 3828081"/>
              <a:gd name="connsiteY34" fmla="*/ 3091911 h 3944318"/>
              <a:gd name="connsiteX35" fmla="*/ 1294108 w 3828081"/>
              <a:gd name="connsiteY35" fmla="*/ 2998922 h 3944318"/>
              <a:gd name="connsiteX36" fmla="*/ 1247614 w 3828081"/>
              <a:gd name="connsiteY36" fmla="*/ 2983423 h 3944318"/>
              <a:gd name="connsiteX37" fmla="*/ 1030637 w 3828081"/>
              <a:gd name="connsiteY37" fmla="*/ 2820691 h 3944318"/>
              <a:gd name="connsiteX38" fmla="*/ 991892 w 3828081"/>
              <a:gd name="connsiteY38" fmla="*/ 2440983 h 3944318"/>
              <a:gd name="connsiteX39" fmla="*/ 922149 w 3828081"/>
              <a:gd name="connsiteY39" fmla="*/ 2053525 h 3944318"/>
              <a:gd name="connsiteX40" fmla="*/ 743919 w 3828081"/>
              <a:gd name="connsiteY40" fmla="*/ 1805552 h 3944318"/>
              <a:gd name="connsiteX41" fmla="*/ 581186 w 3828081"/>
              <a:gd name="connsiteY41" fmla="*/ 1565328 h 3944318"/>
              <a:gd name="connsiteX42" fmla="*/ 402956 w 3828081"/>
              <a:gd name="connsiteY42" fmla="*/ 1294108 h 3944318"/>
              <a:gd name="connsiteX43" fmla="*/ 263471 w 3828081"/>
              <a:gd name="connsiteY43" fmla="*/ 813661 h 3944318"/>
              <a:gd name="connsiteX44" fmla="*/ 263471 w 3828081"/>
              <a:gd name="connsiteY44" fmla="*/ 619932 h 3944318"/>
              <a:gd name="connsiteX45" fmla="*/ 317715 w 3828081"/>
              <a:gd name="connsiteY45" fmla="*/ 333213 h 3944318"/>
              <a:gd name="connsiteX46" fmla="*/ 271220 w 3828081"/>
              <a:gd name="connsiteY46" fmla="*/ 263471 h 3944318"/>
              <a:gd name="connsiteX47" fmla="*/ 69742 w 3828081"/>
              <a:gd name="connsiteY47" fmla="*/ 162732 h 3944318"/>
              <a:gd name="connsiteX48" fmla="*/ 0 w 3828081"/>
              <a:gd name="connsiteY48" fmla="*/ 23247 h 3944318"/>
              <a:gd name="connsiteX49" fmla="*/ 69742 w 3828081"/>
              <a:gd name="connsiteY49" fmla="*/ 0 h 3944318"/>
              <a:gd name="connsiteX0" fmla="*/ 69742 w 3828081"/>
              <a:gd name="connsiteY0" fmla="*/ 0 h 3944318"/>
              <a:gd name="connsiteX1" fmla="*/ 240224 w 3828081"/>
              <a:gd name="connsiteY1" fmla="*/ 85240 h 3944318"/>
              <a:gd name="connsiteX2" fmla="*/ 348712 w 3828081"/>
              <a:gd name="connsiteY2" fmla="*/ 154983 h 3944318"/>
              <a:gd name="connsiteX3" fmla="*/ 464949 w 3828081"/>
              <a:gd name="connsiteY3" fmla="*/ 240223 h 3944318"/>
              <a:gd name="connsiteX4" fmla="*/ 511444 w 3828081"/>
              <a:gd name="connsiteY4" fmla="*/ 356461 h 3944318"/>
              <a:gd name="connsiteX5" fmla="*/ 550190 w 3828081"/>
              <a:gd name="connsiteY5" fmla="*/ 433952 h 3944318"/>
              <a:gd name="connsiteX6" fmla="*/ 697424 w 3828081"/>
              <a:gd name="connsiteY6" fmla="*/ 650928 h 3944318"/>
              <a:gd name="connsiteX7" fmla="*/ 844658 w 3828081"/>
              <a:gd name="connsiteY7" fmla="*/ 798162 h 3944318"/>
              <a:gd name="connsiteX8" fmla="*/ 1030637 w 3828081"/>
              <a:gd name="connsiteY8" fmla="*/ 1022888 h 3944318"/>
              <a:gd name="connsiteX9" fmla="*/ 1123627 w 3828081"/>
              <a:gd name="connsiteY9" fmla="*/ 1208867 h 3944318"/>
              <a:gd name="connsiteX10" fmla="*/ 1170122 w 3828081"/>
              <a:gd name="connsiteY10" fmla="*/ 1363850 h 3944318"/>
              <a:gd name="connsiteX11" fmla="*/ 1325105 w 3828081"/>
              <a:gd name="connsiteY11" fmla="*/ 1898542 h 3944318"/>
              <a:gd name="connsiteX12" fmla="*/ 1340603 w 3828081"/>
              <a:gd name="connsiteY12" fmla="*/ 2378989 h 3944318"/>
              <a:gd name="connsiteX13" fmla="*/ 1394847 w 3828081"/>
              <a:gd name="connsiteY13" fmla="*/ 2580467 h 3944318"/>
              <a:gd name="connsiteX14" fmla="*/ 1526583 w 3828081"/>
              <a:gd name="connsiteY14" fmla="*/ 2805193 h 3944318"/>
              <a:gd name="connsiteX15" fmla="*/ 1673817 w 3828081"/>
              <a:gd name="connsiteY15" fmla="*/ 3045417 h 3944318"/>
              <a:gd name="connsiteX16" fmla="*/ 1968285 w 3828081"/>
              <a:gd name="connsiteY16" fmla="*/ 3277891 h 3944318"/>
              <a:gd name="connsiteX17" fmla="*/ 2402237 w 3828081"/>
              <a:gd name="connsiteY17" fmla="*/ 3448373 h 3944318"/>
              <a:gd name="connsiteX18" fmla="*/ 2766447 w 3828081"/>
              <a:gd name="connsiteY18" fmla="*/ 3634352 h 3944318"/>
              <a:gd name="connsiteX19" fmla="*/ 3479369 w 3828081"/>
              <a:gd name="connsiteY19" fmla="*/ 3541362 h 3944318"/>
              <a:gd name="connsiteX20" fmla="*/ 3692229 w 3828081"/>
              <a:gd name="connsiteY20" fmla="*/ 3583095 h 3944318"/>
              <a:gd name="connsiteX21" fmla="*/ 3757613 w 3828081"/>
              <a:gd name="connsiteY21" fmla="*/ 3741630 h 3944318"/>
              <a:gd name="connsiteX22" fmla="*/ 3828081 w 3828081"/>
              <a:gd name="connsiteY22" fmla="*/ 3913322 h 3944318"/>
              <a:gd name="connsiteX23" fmla="*/ 3626603 w 3828081"/>
              <a:gd name="connsiteY23" fmla="*/ 3944318 h 3944318"/>
              <a:gd name="connsiteX24" fmla="*/ 2588217 w 3828081"/>
              <a:gd name="connsiteY24" fmla="*/ 3928820 h 3944318"/>
              <a:gd name="connsiteX25" fmla="*/ 2518475 w 3828081"/>
              <a:gd name="connsiteY25" fmla="*/ 3758339 h 3944318"/>
              <a:gd name="connsiteX26" fmla="*/ 2347993 w 3828081"/>
              <a:gd name="connsiteY26" fmla="*/ 3688596 h 3944318"/>
              <a:gd name="connsiteX27" fmla="*/ 2123268 w 3828081"/>
              <a:gd name="connsiteY27" fmla="*/ 3642101 h 3944318"/>
              <a:gd name="connsiteX28" fmla="*/ 2014780 w 3828081"/>
              <a:gd name="connsiteY28" fmla="*/ 3556861 h 3944318"/>
              <a:gd name="connsiteX29" fmla="*/ 1836549 w 3828081"/>
              <a:gd name="connsiteY29" fmla="*/ 3518115 h 3944318"/>
              <a:gd name="connsiteX30" fmla="*/ 1697064 w 3828081"/>
              <a:gd name="connsiteY30" fmla="*/ 3386379 h 3944318"/>
              <a:gd name="connsiteX31" fmla="*/ 1495586 w 3828081"/>
              <a:gd name="connsiteY31" fmla="*/ 3254644 h 3944318"/>
              <a:gd name="connsiteX32" fmla="*/ 1402597 w 3828081"/>
              <a:gd name="connsiteY32" fmla="*/ 3277891 h 3944318"/>
              <a:gd name="connsiteX33" fmla="*/ 1371600 w 3828081"/>
              <a:gd name="connsiteY33" fmla="*/ 3277891 h 3944318"/>
              <a:gd name="connsiteX34" fmla="*/ 1340603 w 3828081"/>
              <a:gd name="connsiteY34" fmla="*/ 3184901 h 3944318"/>
              <a:gd name="connsiteX35" fmla="*/ 1340603 w 3828081"/>
              <a:gd name="connsiteY35" fmla="*/ 3091911 h 3944318"/>
              <a:gd name="connsiteX36" fmla="*/ 1294108 w 3828081"/>
              <a:gd name="connsiteY36" fmla="*/ 2998922 h 3944318"/>
              <a:gd name="connsiteX37" fmla="*/ 1247614 w 3828081"/>
              <a:gd name="connsiteY37" fmla="*/ 2983423 h 3944318"/>
              <a:gd name="connsiteX38" fmla="*/ 1030637 w 3828081"/>
              <a:gd name="connsiteY38" fmla="*/ 2820691 h 3944318"/>
              <a:gd name="connsiteX39" fmla="*/ 991892 w 3828081"/>
              <a:gd name="connsiteY39" fmla="*/ 2440983 h 3944318"/>
              <a:gd name="connsiteX40" fmla="*/ 922149 w 3828081"/>
              <a:gd name="connsiteY40" fmla="*/ 2053525 h 3944318"/>
              <a:gd name="connsiteX41" fmla="*/ 743919 w 3828081"/>
              <a:gd name="connsiteY41" fmla="*/ 1805552 h 3944318"/>
              <a:gd name="connsiteX42" fmla="*/ 581186 w 3828081"/>
              <a:gd name="connsiteY42" fmla="*/ 1565328 h 3944318"/>
              <a:gd name="connsiteX43" fmla="*/ 402956 w 3828081"/>
              <a:gd name="connsiteY43" fmla="*/ 1294108 h 3944318"/>
              <a:gd name="connsiteX44" fmla="*/ 263471 w 3828081"/>
              <a:gd name="connsiteY44" fmla="*/ 813661 h 3944318"/>
              <a:gd name="connsiteX45" fmla="*/ 263471 w 3828081"/>
              <a:gd name="connsiteY45" fmla="*/ 619932 h 3944318"/>
              <a:gd name="connsiteX46" fmla="*/ 317715 w 3828081"/>
              <a:gd name="connsiteY46" fmla="*/ 333213 h 3944318"/>
              <a:gd name="connsiteX47" fmla="*/ 271220 w 3828081"/>
              <a:gd name="connsiteY47" fmla="*/ 263471 h 3944318"/>
              <a:gd name="connsiteX48" fmla="*/ 69742 w 3828081"/>
              <a:gd name="connsiteY48" fmla="*/ 162732 h 3944318"/>
              <a:gd name="connsiteX49" fmla="*/ 0 w 3828081"/>
              <a:gd name="connsiteY49" fmla="*/ 23247 h 3944318"/>
              <a:gd name="connsiteX50" fmla="*/ 69742 w 3828081"/>
              <a:gd name="connsiteY50" fmla="*/ 0 h 3944318"/>
              <a:gd name="connsiteX0" fmla="*/ 69742 w 3828081"/>
              <a:gd name="connsiteY0" fmla="*/ 0 h 3944318"/>
              <a:gd name="connsiteX1" fmla="*/ 240224 w 3828081"/>
              <a:gd name="connsiteY1" fmla="*/ 85240 h 3944318"/>
              <a:gd name="connsiteX2" fmla="*/ 348712 w 3828081"/>
              <a:gd name="connsiteY2" fmla="*/ 154983 h 3944318"/>
              <a:gd name="connsiteX3" fmla="*/ 464949 w 3828081"/>
              <a:gd name="connsiteY3" fmla="*/ 240223 h 3944318"/>
              <a:gd name="connsiteX4" fmla="*/ 511444 w 3828081"/>
              <a:gd name="connsiteY4" fmla="*/ 356461 h 3944318"/>
              <a:gd name="connsiteX5" fmla="*/ 550190 w 3828081"/>
              <a:gd name="connsiteY5" fmla="*/ 433952 h 3944318"/>
              <a:gd name="connsiteX6" fmla="*/ 697424 w 3828081"/>
              <a:gd name="connsiteY6" fmla="*/ 650928 h 3944318"/>
              <a:gd name="connsiteX7" fmla="*/ 844658 w 3828081"/>
              <a:gd name="connsiteY7" fmla="*/ 798162 h 3944318"/>
              <a:gd name="connsiteX8" fmla="*/ 1030637 w 3828081"/>
              <a:gd name="connsiteY8" fmla="*/ 1022888 h 3944318"/>
              <a:gd name="connsiteX9" fmla="*/ 1123627 w 3828081"/>
              <a:gd name="connsiteY9" fmla="*/ 1208867 h 3944318"/>
              <a:gd name="connsiteX10" fmla="*/ 1170122 w 3828081"/>
              <a:gd name="connsiteY10" fmla="*/ 1363850 h 3944318"/>
              <a:gd name="connsiteX11" fmla="*/ 1325105 w 3828081"/>
              <a:gd name="connsiteY11" fmla="*/ 1898542 h 3944318"/>
              <a:gd name="connsiteX12" fmla="*/ 1340603 w 3828081"/>
              <a:gd name="connsiteY12" fmla="*/ 2378989 h 3944318"/>
              <a:gd name="connsiteX13" fmla="*/ 1394847 w 3828081"/>
              <a:gd name="connsiteY13" fmla="*/ 2580467 h 3944318"/>
              <a:gd name="connsiteX14" fmla="*/ 1526583 w 3828081"/>
              <a:gd name="connsiteY14" fmla="*/ 2805193 h 3944318"/>
              <a:gd name="connsiteX15" fmla="*/ 1673817 w 3828081"/>
              <a:gd name="connsiteY15" fmla="*/ 3045417 h 3944318"/>
              <a:gd name="connsiteX16" fmla="*/ 1968285 w 3828081"/>
              <a:gd name="connsiteY16" fmla="*/ 3277891 h 3944318"/>
              <a:gd name="connsiteX17" fmla="*/ 2402237 w 3828081"/>
              <a:gd name="connsiteY17" fmla="*/ 3448373 h 3944318"/>
              <a:gd name="connsiteX18" fmla="*/ 2766447 w 3828081"/>
              <a:gd name="connsiteY18" fmla="*/ 3634352 h 3944318"/>
              <a:gd name="connsiteX19" fmla="*/ 3479369 w 3828081"/>
              <a:gd name="connsiteY19" fmla="*/ 3541362 h 3944318"/>
              <a:gd name="connsiteX20" fmla="*/ 3692229 w 3828081"/>
              <a:gd name="connsiteY20" fmla="*/ 3583095 h 3944318"/>
              <a:gd name="connsiteX21" fmla="*/ 3767138 w 3828081"/>
              <a:gd name="connsiteY21" fmla="*/ 3713055 h 3944318"/>
              <a:gd name="connsiteX22" fmla="*/ 3828081 w 3828081"/>
              <a:gd name="connsiteY22" fmla="*/ 3913322 h 3944318"/>
              <a:gd name="connsiteX23" fmla="*/ 3626603 w 3828081"/>
              <a:gd name="connsiteY23" fmla="*/ 3944318 h 3944318"/>
              <a:gd name="connsiteX24" fmla="*/ 2588217 w 3828081"/>
              <a:gd name="connsiteY24" fmla="*/ 3928820 h 3944318"/>
              <a:gd name="connsiteX25" fmla="*/ 2518475 w 3828081"/>
              <a:gd name="connsiteY25" fmla="*/ 3758339 h 3944318"/>
              <a:gd name="connsiteX26" fmla="*/ 2347993 w 3828081"/>
              <a:gd name="connsiteY26" fmla="*/ 3688596 h 3944318"/>
              <a:gd name="connsiteX27" fmla="*/ 2123268 w 3828081"/>
              <a:gd name="connsiteY27" fmla="*/ 3642101 h 3944318"/>
              <a:gd name="connsiteX28" fmla="*/ 2014780 w 3828081"/>
              <a:gd name="connsiteY28" fmla="*/ 3556861 h 3944318"/>
              <a:gd name="connsiteX29" fmla="*/ 1836549 w 3828081"/>
              <a:gd name="connsiteY29" fmla="*/ 3518115 h 3944318"/>
              <a:gd name="connsiteX30" fmla="*/ 1697064 w 3828081"/>
              <a:gd name="connsiteY30" fmla="*/ 3386379 h 3944318"/>
              <a:gd name="connsiteX31" fmla="*/ 1495586 w 3828081"/>
              <a:gd name="connsiteY31" fmla="*/ 3254644 h 3944318"/>
              <a:gd name="connsiteX32" fmla="*/ 1402597 w 3828081"/>
              <a:gd name="connsiteY32" fmla="*/ 3277891 h 3944318"/>
              <a:gd name="connsiteX33" fmla="*/ 1371600 w 3828081"/>
              <a:gd name="connsiteY33" fmla="*/ 3277891 h 3944318"/>
              <a:gd name="connsiteX34" fmla="*/ 1340603 w 3828081"/>
              <a:gd name="connsiteY34" fmla="*/ 3184901 h 3944318"/>
              <a:gd name="connsiteX35" fmla="*/ 1340603 w 3828081"/>
              <a:gd name="connsiteY35" fmla="*/ 3091911 h 3944318"/>
              <a:gd name="connsiteX36" fmla="*/ 1294108 w 3828081"/>
              <a:gd name="connsiteY36" fmla="*/ 2998922 h 3944318"/>
              <a:gd name="connsiteX37" fmla="*/ 1247614 w 3828081"/>
              <a:gd name="connsiteY37" fmla="*/ 2983423 h 3944318"/>
              <a:gd name="connsiteX38" fmla="*/ 1030637 w 3828081"/>
              <a:gd name="connsiteY38" fmla="*/ 2820691 h 3944318"/>
              <a:gd name="connsiteX39" fmla="*/ 991892 w 3828081"/>
              <a:gd name="connsiteY39" fmla="*/ 2440983 h 3944318"/>
              <a:gd name="connsiteX40" fmla="*/ 922149 w 3828081"/>
              <a:gd name="connsiteY40" fmla="*/ 2053525 h 3944318"/>
              <a:gd name="connsiteX41" fmla="*/ 743919 w 3828081"/>
              <a:gd name="connsiteY41" fmla="*/ 1805552 h 3944318"/>
              <a:gd name="connsiteX42" fmla="*/ 581186 w 3828081"/>
              <a:gd name="connsiteY42" fmla="*/ 1565328 h 3944318"/>
              <a:gd name="connsiteX43" fmla="*/ 402956 w 3828081"/>
              <a:gd name="connsiteY43" fmla="*/ 1294108 h 3944318"/>
              <a:gd name="connsiteX44" fmla="*/ 263471 w 3828081"/>
              <a:gd name="connsiteY44" fmla="*/ 813661 h 3944318"/>
              <a:gd name="connsiteX45" fmla="*/ 263471 w 3828081"/>
              <a:gd name="connsiteY45" fmla="*/ 619932 h 3944318"/>
              <a:gd name="connsiteX46" fmla="*/ 317715 w 3828081"/>
              <a:gd name="connsiteY46" fmla="*/ 333213 h 3944318"/>
              <a:gd name="connsiteX47" fmla="*/ 271220 w 3828081"/>
              <a:gd name="connsiteY47" fmla="*/ 263471 h 3944318"/>
              <a:gd name="connsiteX48" fmla="*/ 69742 w 3828081"/>
              <a:gd name="connsiteY48" fmla="*/ 162732 h 3944318"/>
              <a:gd name="connsiteX49" fmla="*/ 0 w 3828081"/>
              <a:gd name="connsiteY49" fmla="*/ 23247 h 3944318"/>
              <a:gd name="connsiteX50" fmla="*/ 69742 w 3828081"/>
              <a:gd name="connsiteY50" fmla="*/ 0 h 3944318"/>
              <a:gd name="connsiteX0" fmla="*/ 69742 w 3785218"/>
              <a:gd name="connsiteY0" fmla="*/ 0 h 3945545"/>
              <a:gd name="connsiteX1" fmla="*/ 240224 w 3785218"/>
              <a:gd name="connsiteY1" fmla="*/ 85240 h 3945545"/>
              <a:gd name="connsiteX2" fmla="*/ 348712 w 3785218"/>
              <a:gd name="connsiteY2" fmla="*/ 154983 h 3945545"/>
              <a:gd name="connsiteX3" fmla="*/ 464949 w 3785218"/>
              <a:gd name="connsiteY3" fmla="*/ 240223 h 3945545"/>
              <a:gd name="connsiteX4" fmla="*/ 511444 w 3785218"/>
              <a:gd name="connsiteY4" fmla="*/ 356461 h 3945545"/>
              <a:gd name="connsiteX5" fmla="*/ 550190 w 3785218"/>
              <a:gd name="connsiteY5" fmla="*/ 433952 h 3945545"/>
              <a:gd name="connsiteX6" fmla="*/ 697424 w 3785218"/>
              <a:gd name="connsiteY6" fmla="*/ 650928 h 3945545"/>
              <a:gd name="connsiteX7" fmla="*/ 844658 w 3785218"/>
              <a:gd name="connsiteY7" fmla="*/ 798162 h 3945545"/>
              <a:gd name="connsiteX8" fmla="*/ 1030637 w 3785218"/>
              <a:gd name="connsiteY8" fmla="*/ 1022888 h 3945545"/>
              <a:gd name="connsiteX9" fmla="*/ 1123627 w 3785218"/>
              <a:gd name="connsiteY9" fmla="*/ 1208867 h 3945545"/>
              <a:gd name="connsiteX10" fmla="*/ 1170122 w 3785218"/>
              <a:gd name="connsiteY10" fmla="*/ 1363850 h 3945545"/>
              <a:gd name="connsiteX11" fmla="*/ 1325105 w 3785218"/>
              <a:gd name="connsiteY11" fmla="*/ 1898542 h 3945545"/>
              <a:gd name="connsiteX12" fmla="*/ 1340603 w 3785218"/>
              <a:gd name="connsiteY12" fmla="*/ 2378989 h 3945545"/>
              <a:gd name="connsiteX13" fmla="*/ 1394847 w 3785218"/>
              <a:gd name="connsiteY13" fmla="*/ 2580467 h 3945545"/>
              <a:gd name="connsiteX14" fmla="*/ 1526583 w 3785218"/>
              <a:gd name="connsiteY14" fmla="*/ 2805193 h 3945545"/>
              <a:gd name="connsiteX15" fmla="*/ 1673817 w 3785218"/>
              <a:gd name="connsiteY15" fmla="*/ 3045417 h 3945545"/>
              <a:gd name="connsiteX16" fmla="*/ 1968285 w 3785218"/>
              <a:gd name="connsiteY16" fmla="*/ 3277891 h 3945545"/>
              <a:gd name="connsiteX17" fmla="*/ 2402237 w 3785218"/>
              <a:gd name="connsiteY17" fmla="*/ 3448373 h 3945545"/>
              <a:gd name="connsiteX18" fmla="*/ 2766447 w 3785218"/>
              <a:gd name="connsiteY18" fmla="*/ 3634352 h 3945545"/>
              <a:gd name="connsiteX19" fmla="*/ 3479369 w 3785218"/>
              <a:gd name="connsiteY19" fmla="*/ 3541362 h 3945545"/>
              <a:gd name="connsiteX20" fmla="*/ 3692229 w 3785218"/>
              <a:gd name="connsiteY20" fmla="*/ 3583095 h 3945545"/>
              <a:gd name="connsiteX21" fmla="*/ 3767138 w 3785218"/>
              <a:gd name="connsiteY21" fmla="*/ 3713055 h 3945545"/>
              <a:gd name="connsiteX22" fmla="*/ 3785218 w 3785218"/>
              <a:gd name="connsiteY22" fmla="*/ 3894272 h 3945545"/>
              <a:gd name="connsiteX23" fmla="*/ 3626603 w 3785218"/>
              <a:gd name="connsiteY23" fmla="*/ 3944318 h 3945545"/>
              <a:gd name="connsiteX24" fmla="*/ 2588217 w 3785218"/>
              <a:gd name="connsiteY24" fmla="*/ 3928820 h 3945545"/>
              <a:gd name="connsiteX25" fmla="*/ 2518475 w 3785218"/>
              <a:gd name="connsiteY25" fmla="*/ 3758339 h 3945545"/>
              <a:gd name="connsiteX26" fmla="*/ 2347993 w 3785218"/>
              <a:gd name="connsiteY26" fmla="*/ 3688596 h 3945545"/>
              <a:gd name="connsiteX27" fmla="*/ 2123268 w 3785218"/>
              <a:gd name="connsiteY27" fmla="*/ 3642101 h 3945545"/>
              <a:gd name="connsiteX28" fmla="*/ 2014780 w 3785218"/>
              <a:gd name="connsiteY28" fmla="*/ 3556861 h 3945545"/>
              <a:gd name="connsiteX29" fmla="*/ 1836549 w 3785218"/>
              <a:gd name="connsiteY29" fmla="*/ 3518115 h 3945545"/>
              <a:gd name="connsiteX30" fmla="*/ 1697064 w 3785218"/>
              <a:gd name="connsiteY30" fmla="*/ 3386379 h 3945545"/>
              <a:gd name="connsiteX31" fmla="*/ 1495586 w 3785218"/>
              <a:gd name="connsiteY31" fmla="*/ 3254644 h 3945545"/>
              <a:gd name="connsiteX32" fmla="*/ 1402597 w 3785218"/>
              <a:gd name="connsiteY32" fmla="*/ 3277891 h 3945545"/>
              <a:gd name="connsiteX33" fmla="*/ 1371600 w 3785218"/>
              <a:gd name="connsiteY33" fmla="*/ 3277891 h 3945545"/>
              <a:gd name="connsiteX34" fmla="*/ 1340603 w 3785218"/>
              <a:gd name="connsiteY34" fmla="*/ 3184901 h 3945545"/>
              <a:gd name="connsiteX35" fmla="*/ 1340603 w 3785218"/>
              <a:gd name="connsiteY35" fmla="*/ 3091911 h 3945545"/>
              <a:gd name="connsiteX36" fmla="*/ 1294108 w 3785218"/>
              <a:gd name="connsiteY36" fmla="*/ 2998922 h 3945545"/>
              <a:gd name="connsiteX37" fmla="*/ 1247614 w 3785218"/>
              <a:gd name="connsiteY37" fmla="*/ 2983423 h 3945545"/>
              <a:gd name="connsiteX38" fmla="*/ 1030637 w 3785218"/>
              <a:gd name="connsiteY38" fmla="*/ 2820691 h 3945545"/>
              <a:gd name="connsiteX39" fmla="*/ 991892 w 3785218"/>
              <a:gd name="connsiteY39" fmla="*/ 2440983 h 3945545"/>
              <a:gd name="connsiteX40" fmla="*/ 922149 w 3785218"/>
              <a:gd name="connsiteY40" fmla="*/ 2053525 h 3945545"/>
              <a:gd name="connsiteX41" fmla="*/ 743919 w 3785218"/>
              <a:gd name="connsiteY41" fmla="*/ 1805552 h 3945545"/>
              <a:gd name="connsiteX42" fmla="*/ 581186 w 3785218"/>
              <a:gd name="connsiteY42" fmla="*/ 1565328 h 3945545"/>
              <a:gd name="connsiteX43" fmla="*/ 402956 w 3785218"/>
              <a:gd name="connsiteY43" fmla="*/ 1294108 h 3945545"/>
              <a:gd name="connsiteX44" fmla="*/ 263471 w 3785218"/>
              <a:gd name="connsiteY44" fmla="*/ 813661 h 3945545"/>
              <a:gd name="connsiteX45" fmla="*/ 263471 w 3785218"/>
              <a:gd name="connsiteY45" fmla="*/ 619932 h 3945545"/>
              <a:gd name="connsiteX46" fmla="*/ 317715 w 3785218"/>
              <a:gd name="connsiteY46" fmla="*/ 333213 h 3945545"/>
              <a:gd name="connsiteX47" fmla="*/ 271220 w 3785218"/>
              <a:gd name="connsiteY47" fmla="*/ 263471 h 3945545"/>
              <a:gd name="connsiteX48" fmla="*/ 69742 w 3785218"/>
              <a:gd name="connsiteY48" fmla="*/ 162732 h 3945545"/>
              <a:gd name="connsiteX49" fmla="*/ 0 w 3785218"/>
              <a:gd name="connsiteY49" fmla="*/ 23247 h 3945545"/>
              <a:gd name="connsiteX50" fmla="*/ 69742 w 3785218"/>
              <a:gd name="connsiteY50" fmla="*/ 0 h 3945545"/>
              <a:gd name="connsiteX0" fmla="*/ 69742 w 3767138"/>
              <a:gd name="connsiteY0" fmla="*/ 0 h 3946360"/>
              <a:gd name="connsiteX1" fmla="*/ 240224 w 3767138"/>
              <a:gd name="connsiteY1" fmla="*/ 85240 h 3946360"/>
              <a:gd name="connsiteX2" fmla="*/ 348712 w 3767138"/>
              <a:gd name="connsiteY2" fmla="*/ 154983 h 3946360"/>
              <a:gd name="connsiteX3" fmla="*/ 464949 w 3767138"/>
              <a:gd name="connsiteY3" fmla="*/ 240223 h 3946360"/>
              <a:gd name="connsiteX4" fmla="*/ 511444 w 3767138"/>
              <a:gd name="connsiteY4" fmla="*/ 356461 h 3946360"/>
              <a:gd name="connsiteX5" fmla="*/ 550190 w 3767138"/>
              <a:gd name="connsiteY5" fmla="*/ 433952 h 3946360"/>
              <a:gd name="connsiteX6" fmla="*/ 697424 w 3767138"/>
              <a:gd name="connsiteY6" fmla="*/ 650928 h 3946360"/>
              <a:gd name="connsiteX7" fmla="*/ 844658 w 3767138"/>
              <a:gd name="connsiteY7" fmla="*/ 798162 h 3946360"/>
              <a:gd name="connsiteX8" fmla="*/ 1030637 w 3767138"/>
              <a:gd name="connsiteY8" fmla="*/ 1022888 h 3946360"/>
              <a:gd name="connsiteX9" fmla="*/ 1123627 w 3767138"/>
              <a:gd name="connsiteY9" fmla="*/ 1208867 h 3946360"/>
              <a:gd name="connsiteX10" fmla="*/ 1170122 w 3767138"/>
              <a:gd name="connsiteY10" fmla="*/ 1363850 h 3946360"/>
              <a:gd name="connsiteX11" fmla="*/ 1325105 w 3767138"/>
              <a:gd name="connsiteY11" fmla="*/ 1898542 h 3946360"/>
              <a:gd name="connsiteX12" fmla="*/ 1340603 w 3767138"/>
              <a:gd name="connsiteY12" fmla="*/ 2378989 h 3946360"/>
              <a:gd name="connsiteX13" fmla="*/ 1394847 w 3767138"/>
              <a:gd name="connsiteY13" fmla="*/ 2580467 h 3946360"/>
              <a:gd name="connsiteX14" fmla="*/ 1526583 w 3767138"/>
              <a:gd name="connsiteY14" fmla="*/ 2805193 h 3946360"/>
              <a:gd name="connsiteX15" fmla="*/ 1673817 w 3767138"/>
              <a:gd name="connsiteY15" fmla="*/ 3045417 h 3946360"/>
              <a:gd name="connsiteX16" fmla="*/ 1968285 w 3767138"/>
              <a:gd name="connsiteY16" fmla="*/ 3277891 h 3946360"/>
              <a:gd name="connsiteX17" fmla="*/ 2402237 w 3767138"/>
              <a:gd name="connsiteY17" fmla="*/ 3448373 h 3946360"/>
              <a:gd name="connsiteX18" fmla="*/ 2766447 w 3767138"/>
              <a:gd name="connsiteY18" fmla="*/ 3634352 h 3946360"/>
              <a:gd name="connsiteX19" fmla="*/ 3479369 w 3767138"/>
              <a:gd name="connsiteY19" fmla="*/ 3541362 h 3946360"/>
              <a:gd name="connsiteX20" fmla="*/ 3692229 w 3767138"/>
              <a:gd name="connsiteY20" fmla="*/ 3583095 h 3946360"/>
              <a:gd name="connsiteX21" fmla="*/ 3767138 w 3767138"/>
              <a:gd name="connsiteY21" fmla="*/ 3713055 h 3946360"/>
              <a:gd name="connsiteX22" fmla="*/ 3766168 w 3767138"/>
              <a:gd name="connsiteY22" fmla="*/ 3879985 h 3946360"/>
              <a:gd name="connsiteX23" fmla="*/ 3626603 w 3767138"/>
              <a:gd name="connsiteY23" fmla="*/ 3944318 h 3946360"/>
              <a:gd name="connsiteX24" fmla="*/ 2588217 w 3767138"/>
              <a:gd name="connsiteY24" fmla="*/ 3928820 h 3946360"/>
              <a:gd name="connsiteX25" fmla="*/ 2518475 w 3767138"/>
              <a:gd name="connsiteY25" fmla="*/ 3758339 h 3946360"/>
              <a:gd name="connsiteX26" fmla="*/ 2347993 w 3767138"/>
              <a:gd name="connsiteY26" fmla="*/ 3688596 h 3946360"/>
              <a:gd name="connsiteX27" fmla="*/ 2123268 w 3767138"/>
              <a:gd name="connsiteY27" fmla="*/ 3642101 h 3946360"/>
              <a:gd name="connsiteX28" fmla="*/ 2014780 w 3767138"/>
              <a:gd name="connsiteY28" fmla="*/ 3556861 h 3946360"/>
              <a:gd name="connsiteX29" fmla="*/ 1836549 w 3767138"/>
              <a:gd name="connsiteY29" fmla="*/ 3518115 h 3946360"/>
              <a:gd name="connsiteX30" fmla="*/ 1697064 w 3767138"/>
              <a:gd name="connsiteY30" fmla="*/ 3386379 h 3946360"/>
              <a:gd name="connsiteX31" fmla="*/ 1495586 w 3767138"/>
              <a:gd name="connsiteY31" fmla="*/ 3254644 h 3946360"/>
              <a:gd name="connsiteX32" fmla="*/ 1402597 w 3767138"/>
              <a:gd name="connsiteY32" fmla="*/ 3277891 h 3946360"/>
              <a:gd name="connsiteX33" fmla="*/ 1371600 w 3767138"/>
              <a:gd name="connsiteY33" fmla="*/ 3277891 h 3946360"/>
              <a:gd name="connsiteX34" fmla="*/ 1340603 w 3767138"/>
              <a:gd name="connsiteY34" fmla="*/ 3184901 h 3946360"/>
              <a:gd name="connsiteX35" fmla="*/ 1340603 w 3767138"/>
              <a:gd name="connsiteY35" fmla="*/ 3091911 h 3946360"/>
              <a:gd name="connsiteX36" fmla="*/ 1294108 w 3767138"/>
              <a:gd name="connsiteY36" fmla="*/ 2998922 h 3946360"/>
              <a:gd name="connsiteX37" fmla="*/ 1247614 w 3767138"/>
              <a:gd name="connsiteY37" fmla="*/ 2983423 h 3946360"/>
              <a:gd name="connsiteX38" fmla="*/ 1030637 w 3767138"/>
              <a:gd name="connsiteY38" fmla="*/ 2820691 h 3946360"/>
              <a:gd name="connsiteX39" fmla="*/ 991892 w 3767138"/>
              <a:gd name="connsiteY39" fmla="*/ 2440983 h 3946360"/>
              <a:gd name="connsiteX40" fmla="*/ 922149 w 3767138"/>
              <a:gd name="connsiteY40" fmla="*/ 2053525 h 3946360"/>
              <a:gd name="connsiteX41" fmla="*/ 743919 w 3767138"/>
              <a:gd name="connsiteY41" fmla="*/ 1805552 h 3946360"/>
              <a:gd name="connsiteX42" fmla="*/ 581186 w 3767138"/>
              <a:gd name="connsiteY42" fmla="*/ 1565328 h 3946360"/>
              <a:gd name="connsiteX43" fmla="*/ 402956 w 3767138"/>
              <a:gd name="connsiteY43" fmla="*/ 1294108 h 3946360"/>
              <a:gd name="connsiteX44" fmla="*/ 263471 w 3767138"/>
              <a:gd name="connsiteY44" fmla="*/ 813661 h 3946360"/>
              <a:gd name="connsiteX45" fmla="*/ 263471 w 3767138"/>
              <a:gd name="connsiteY45" fmla="*/ 619932 h 3946360"/>
              <a:gd name="connsiteX46" fmla="*/ 317715 w 3767138"/>
              <a:gd name="connsiteY46" fmla="*/ 333213 h 3946360"/>
              <a:gd name="connsiteX47" fmla="*/ 271220 w 3767138"/>
              <a:gd name="connsiteY47" fmla="*/ 263471 h 3946360"/>
              <a:gd name="connsiteX48" fmla="*/ 69742 w 3767138"/>
              <a:gd name="connsiteY48" fmla="*/ 162732 h 3946360"/>
              <a:gd name="connsiteX49" fmla="*/ 0 w 3767138"/>
              <a:gd name="connsiteY49" fmla="*/ 23247 h 3946360"/>
              <a:gd name="connsiteX50" fmla="*/ 69742 w 3767138"/>
              <a:gd name="connsiteY50" fmla="*/ 0 h 394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3767138" h="3946360">
                <a:moveTo>
                  <a:pt x="69742" y="0"/>
                </a:moveTo>
                <a:lnTo>
                  <a:pt x="240224" y="85240"/>
                </a:lnTo>
                <a:lnTo>
                  <a:pt x="348712" y="154983"/>
                </a:lnTo>
                <a:lnTo>
                  <a:pt x="464949" y="240223"/>
                </a:lnTo>
                <a:lnTo>
                  <a:pt x="511444" y="356461"/>
                </a:lnTo>
                <a:lnTo>
                  <a:pt x="550190" y="433952"/>
                </a:lnTo>
                <a:lnTo>
                  <a:pt x="697424" y="650928"/>
                </a:lnTo>
                <a:lnTo>
                  <a:pt x="844658" y="798162"/>
                </a:lnTo>
                <a:lnTo>
                  <a:pt x="1030637" y="1022888"/>
                </a:lnTo>
                <a:lnTo>
                  <a:pt x="1123627" y="1208867"/>
                </a:lnTo>
                <a:lnTo>
                  <a:pt x="1170122" y="1363850"/>
                </a:lnTo>
                <a:lnTo>
                  <a:pt x="1325105" y="1898542"/>
                </a:lnTo>
                <a:lnTo>
                  <a:pt x="1340603" y="2378989"/>
                </a:lnTo>
                <a:lnTo>
                  <a:pt x="1394847" y="2580467"/>
                </a:lnTo>
                <a:lnTo>
                  <a:pt x="1526583" y="2805193"/>
                </a:lnTo>
                <a:lnTo>
                  <a:pt x="1673817" y="3045417"/>
                </a:lnTo>
                <a:lnTo>
                  <a:pt x="1968285" y="3277891"/>
                </a:lnTo>
                <a:lnTo>
                  <a:pt x="2402237" y="3448373"/>
                </a:lnTo>
                <a:lnTo>
                  <a:pt x="2766447" y="3634352"/>
                </a:lnTo>
                <a:lnTo>
                  <a:pt x="3479369" y="3541362"/>
                </a:lnTo>
                <a:lnTo>
                  <a:pt x="3692229" y="3583095"/>
                </a:lnTo>
                <a:lnTo>
                  <a:pt x="3767138" y="3713055"/>
                </a:lnTo>
                <a:cubicBezTo>
                  <a:pt x="3766815" y="3768698"/>
                  <a:pt x="3766491" y="3824342"/>
                  <a:pt x="3766168" y="3879985"/>
                </a:cubicBezTo>
                <a:cubicBezTo>
                  <a:pt x="3713296" y="3896667"/>
                  <a:pt x="3822928" y="3936179"/>
                  <a:pt x="3626603" y="3944318"/>
                </a:cubicBezTo>
                <a:cubicBezTo>
                  <a:pt x="3430278" y="3952457"/>
                  <a:pt x="2934346" y="3933986"/>
                  <a:pt x="2588217" y="3928820"/>
                </a:cubicBezTo>
                <a:lnTo>
                  <a:pt x="2518475" y="3758339"/>
                </a:lnTo>
                <a:lnTo>
                  <a:pt x="2347993" y="3688596"/>
                </a:lnTo>
                <a:lnTo>
                  <a:pt x="2123268" y="3642101"/>
                </a:lnTo>
                <a:lnTo>
                  <a:pt x="2014780" y="3556861"/>
                </a:lnTo>
                <a:lnTo>
                  <a:pt x="1836549" y="3518115"/>
                </a:lnTo>
                <a:lnTo>
                  <a:pt x="1697064" y="3386379"/>
                </a:lnTo>
                <a:lnTo>
                  <a:pt x="1495586" y="3254644"/>
                </a:lnTo>
                <a:lnTo>
                  <a:pt x="1402597" y="3277891"/>
                </a:lnTo>
                <a:lnTo>
                  <a:pt x="1371600" y="3277891"/>
                </a:lnTo>
                <a:lnTo>
                  <a:pt x="1340603" y="3184901"/>
                </a:lnTo>
                <a:lnTo>
                  <a:pt x="1340603" y="3091911"/>
                </a:lnTo>
                <a:lnTo>
                  <a:pt x="1294108" y="2998922"/>
                </a:lnTo>
                <a:lnTo>
                  <a:pt x="1247614" y="2983423"/>
                </a:lnTo>
                <a:lnTo>
                  <a:pt x="1030637" y="2820691"/>
                </a:lnTo>
                <a:lnTo>
                  <a:pt x="991892" y="2440983"/>
                </a:lnTo>
                <a:lnTo>
                  <a:pt x="922149" y="2053525"/>
                </a:lnTo>
                <a:lnTo>
                  <a:pt x="743919" y="1805552"/>
                </a:lnTo>
                <a:lnTo>
                  <a:pt x="581186" y="1565328"/>
                </a:lnTo>
                <a:lnTo>
                  <a:pt x="402956" y="1294108"/>
                </a:lnTo>
                <a:lnTo>
                  <a:pt x="263471" y="813661"/>
                </a:lnTo>
                <a:lnTo>
                  <a:pt x="263471" y="619932"/>
                </a:lnTo>
                <a:lnTo>
                  <a:pt x="317715" y="333213"/>
                </a:lnTo>
                <a:lnTo>
                  <a:pt x="271220" y="263471"/>
                </a:lnTo>
                <a:lnTo>
                  <a:pt x="69742" y="162732"/>
                </a:lnTo>
                <a:lnTo>
                  <a:pt x="0" y="23247"/>
                </a:lnTo>
                <a:lnTo>
                  <a:pt x="69742" y="0"/>
                </a:lnTo>
                <a:close/>
              </a:path>
            </a:pathLst>
          </a:custGeom>
          <a:solidFill>
            <a:srgbClr val="FF9966">
              <a:alpha val="49804"/>
            </a:srgbClr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spc="0" normalizeH="0" baseline="0">
              <a:ln>
                <a:noFill/>
              </a:ln>
              <a:solidFill>
                <a:srgbClr val="595959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4 Forma libre"/>
          <p:cNvSpPr/>
          <p:nvPr/>
        </p:nvSpPr>
        <p:spPr>
          <a:xfrm>
            <a:off x="3324386" y="1317356"/>
            <a:ext cx="3183691" cy="2425485"/>
          </a:xfrm>
          <a:custGeom>
            <a:avLst/>
            <a:gdLst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20672 w 3169404"/>
              <a:gd name="connsiteY3" fmla="*/ 488197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658319 w 3169404"/>
              <a:gd name="connsiteY7" fmla="*/ 906651 h 2425485"/>
              <a:gd name="connsiteX8" fmla="*/ 2255004 w 3169404"/>
              <a:gd name="connsiteY8" fmla="*/ 852407 h 2425485"/>
              <a:gd name="connsiteX9" fmla="*/ 2750950 w 3169404"/>
              <a:gd name="connsiteY9" fmla="*/ 767166 h 2425485"/>
              <a:gd name="connsiteX10" fmla="*/ 3068665 w 3169404"/>
              <a:gd name="connsiteY10" fmla="*/ 1363851 h 2425485"/>
              <a:gd name="connsiteX11" fmla="*/ 3169404 w 3169404"/>
              <a:gd name="connsiteY11" fmla="*/ 1836549 h 2425485"/>
              <a:gd name="connsiteX12" fmla="*/ 3169404 w 3169404"/>
              <a:gd name="connsiteY12" fmla="*/ 2146515 h 2425485"/>
              <a:gd name="connsiteX13" fmla="*/ 3053167 w 3169404"/>
              <a:gd name="connsiteY13" fmla="*/ 2386739 h 2425485"/>
              <a:gd name="connsiteX14" fmla="*/ 2681207 w 3169404"/>
              <a:gd name="connsiteY14" fmla="*/ 2425485 h 2425485"/>
              <a:gd name="connsiteX15" fmla="*/ 2169763 w 3169404"/>
              <a:gd name="connsiteY15" fmla="*/ 2394488 h 2425485"/>
              <a:gd name="connsiteX16" fmla="*/ 1766807 w 3169404"/>
              <a:gd name="connsiteY16" fmla="*/ 2208508 h 2425485"/>
              <a:gd name="connsiteX17" fmla="*/ 1301858 w 3169404"/>
              <a:gd name="connsiteY17" fmla="*/ 2045776 h 2425485"/>
              <a:gd name="connsiteX18" fmla="*/ 1108129 w 3169404"/>
              <a:gd name="connsiteY18" fmla="*/ 1774556 h 2425485"/>
              <a:gd name="connsiteX19" fmla="*/ 999641 w 3169404"/>
              <a:gd name="connsiteY19" fmla="*/ 1542081 h 2425485"/>
              <a:gd name="connsiteX20" fmla="*/ 1077133 w 3169404"/>
              <a:gd name="connsiteY20" fmla="*/ 1286359 h 2425485"/>
              <a:gd name="connsiteX21" fmla="*/ 1077133 w 3169404"/>
              <a:gd name="connsiteY21" fmla="*/ 945397 h 2425485"/>
              <a:gd name="connsiteX22" fmla="*/ 875655 w 3169404"/>
              <a:gd name="connsiteY22" fmla="*/ 736169 h 2425485"/>
              <a:gd name="connsiteX23" fmla="*/ 596685 w 3169404"/>
              <a:gd name="connsiteY23" fmla="*/ 480447 h 2425485"/>
              <a:gd name="connsiteX24" fmla="*/ 402956 w 3169404"/>
              <a:gd name="connsiteY24" fmla="*/ 325464 h 2425485"/>
              <a:gd name="connsiteX25" fmla="*/ 46495 w 3169404"/>
              <a:gd name="connsiteY25" fmla="*/ 85241 h 2425485"/>
              <a:gd name="connsiteX26" fmla="*/ 0 w 3169404"/>
              <a:gd name="connsiteY26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20672 w 3169404"/>
              <a:gd name="connsiteY3" fmla="*/ 488197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658319 w 3169404"/>
              <a:gd name="connsiteY7" fmla="*/ 906651 h 2425485"/>
              <a:gd name="connsiteX8" fmla="*/ 2255004 w 3169404"/>
              <a:gd name="connsiteY8" fmla="*/ 852407 h 2425485"/>
              <a:gd name="connsiteX9" fmla="*/ 2750950 w 3169404"/>
              <a:gd name="connsiteY9" fmla="*/ 813661 h 2425485"/>
              <a:gd name="connsiteX10" fmla="*/ 3068665 w 3169404"/>
              <a:gd name="connsiteY10" fmla="*/ 1363851 h 2425485"/>
              <a:gd name="connsiteX11" fmla="*/ 3169404 w 3169404"/>
              <a:gd name="connsiteY11" fmla="*/ 1836549 h 2425485"/>
              <a:gd name="connsiteX12" fmla="*/ 3169404 w 3169404"/>
              <a:gd name="connsiteY12" fmla="*/ 2146515 h 2425485"/>
              <a:gd name="connsiteX13" fmla="*/ 3053167 w 3169404"/>
              <a:gd name="connsiteY13" fmla="*/ 2386739 h 2425485"/>
              <a:gd name="connsiteX14" fmla="*/ 2681207 w 3169404"/>
              <a:gd name="connsiteY14" fmla="*/ 2425485 h 2425485"/>
              <a:gd name="connsiteX15" fmla="*/ 2169763 w 3169404"/>
              <a:gd name="connsiteY15" fmla="*/ 2394488 h 2425485"/>
              <a:gd name="connsiteX16" fmla="*/ 1766807 w 3169404"/>
              <a:gd name="connsiteY16" fmla="*/ 2208508 h 2425485"/>
              <a:gd name="connsiteX17" fmla="*/ 1301858 w 3169404"/>
              <a:gd name="connsiteY17" fmla="*/ 2045776 h 2425485"/>
              <a:gd name="connsiteX18" fmla="*/ 1108129 w 3169404"/>
              <a:gd name="connsiteY18" fmla="*/ 1774556 h 2425485"/>
              <a:gd name="connsiteX19" fmla="*/ 999641 w 3169404"/>
              <a:gd name="connsiteY19" fmla="*/ 1542081 h 2425485"/>
              <a:gd name="connsiteX20" fmla="*/ 1077133 w 3169404"/>
              <a:gd name="connsiteY20" fmla="*/ 1286359 h 2425485"/>
              <a:gd name="connsiteX21" fmla="*/ 1077133 w 3169404"/>
              <a:gd name="connsiteY21" fmla="*/ 945397 h 2425485"/>
              <a:gd name="connsiteX22" fmla="*/ 875655 w 3169404"/>
              <a:gd name="connsiteY22" fmla="*/ 736169 h 2425485"/>
              <a:gd name="connsiteX23" fmla="*/ 596685 w 3169404"/>
              <a:gd name="connsiteY23" fmla="*/ 480447 h 2425485"/>
              <a:gd name="connsiteX24" fmla="*/ 402956 w 3169404"/>
              <a:gd name="connsiteY24" fmla="*/ 325464 h 2425485"/>
              <a:gd name="connsiteX25" fmla="*/ 46495 w 3169404"/>
              <a:gd name="connsiteY25" fmla="*/ 85241 h 2425485"/>
              <a:gd name="connsiteX26" fmla="*/ 0 w 3169404"/>
              <a:gd name="connsiteY26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20672 w 3169404"/>
              <a:gd name="connsiteY3" fmla="*/ 488197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658319 w 3169404"/>
              <a:gd name="connsiteY7" fmla="*/ 906651 h 2425485"/>
              <a:gd name="connsiteX8" fmla="*/ 1743560 w 3169404"/>
              <a:gd name="connsiteY8" fmla="*/ 999641 h 2425485"/>
              <a:gd name="connsiteX9" fmla="*/ 2255004 w 3169404"/>
              <a:gd name="connsiteY9" fmla="*/ 852407 h 2425485"/>
              <a:gd name="connsiteX10" fmla="*/ 2750950 w 3169404"/>
              <a:gd name="connsiteY10" fmla="*/ 813661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69763 w 3169404"/>
              <a:gd name="connsiteY16" fmla="*/ 2394488 h 2425485"/>
              <a:gd name="connsiteX17" fmla="*/ 1766807 w 3169404"/>
              <a:gd name="connsiteY17" fmla="*/ 2208508 h 2425485"/>
              <a:gd name="connsiteX18" fmla="*/ 1301858 w 3169404"/>
              <a:gd name="connsiteY18" fmla="*/ 2045776 h 2425485"/>
              <a:gd name="connsiteX19" fmla="*/ 1108129 w 3169404"/>
              <a:gd name="connsiteY19" fmla="*/ 1774556 h 2425485"/>
              <a:gd name="connsiteX20" fmla="*/ 999641 w 3169404"/>
              <a:gd name="connsiteY20" fmla="*/ 1542081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20672 w 3169404"/>
              <a:gd name="connsiteY3" fmla="*/ 488197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495587 w 3169404"/>
              <a:gd name="connsiteY7" fmla="*/ 984142 h 2425485"/>
              <a:gd name="connsiteX8" fmla="*/ 1743560 w 3169404"/>
              <a:gd name="connsiteY8" fmla="*/ 999641 h 2425485"/>
              <a:gd name="connsiteX9" fmla="*/ 2255004 w 3169404"/>
              <a:gd name="connsiteY9" fmla="*/ 852407 h 2425485"/>
              <a:gd name="connsiteX10" fmla="*/ 2750950 w 3169404"/>
              <a:gd name="connsiteY10" fmla="*/ 813661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69763 w 3169404"/>
              <a:gd name="connsiteY16" fmla="*/ 2394488 h 2425485"/>
              <a:gd name="connsiteX17" fmla="*/ 1766807 w 3169404"/>
              <a:gd name="connsiteY17" fmla="*/ 2208508 h 2425485"/>
              <a:gd name="connsiteX18" fmla="*/ 1301858 w 3169404"/>
              <a:gd name="connsiteY18" fmla="*/ 2045776 h 2425485"/>
              <a:gd name="connsiteX19" fmla="*/ 1108129 w 3169404"/>
              <a:gd name="connsiteY19" fmla="*/ 1774556 h 2425485"/>
              <a:gd name="connsiteX20" fmla="*/ 999641 w 3169404"/>
              <a:gd name="connsiteY20" fmla="*/ 1542081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20672 w 3169404"/>
              <a:gd name="connsiteY3" fmla="*/ 488197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495587 w 3169404"/>
              <a:gd name="connsiteY7" fmla="*/ 984142 h 2425485"/>
              <a:gd name="connsiteX8" fmla="*/ 1743560 w 3169404"/>
              <a:gd name="connsiteY8" fmla="*/ 960895 h 2425485"/>
              <a:gd name="connsiteX9" fmla="*/ 2255004 w 3169404"/>
              <a:gd name="connsiteY9" fmla="*/ 852407 h 2425485"/>
              <a:gd name="connsiteX10" fmla="*/ 2750950 w 3169404"/>
              <a:gd name="connsiteY10" fmla="*/ 813661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69763 w 3169404"/>
              <a:gd name="connsiteY16" fmla="*/ 2394488 h 2425485"/>
              <a:gd name="connsiteX17" fmla="*/ 1766807 w 3169404"/>
              <a:gd name="connsiteY17" fmla="*/ 2208508 h 2425485"/>
              <a:gd name="connsiteX18" fmla="*/ 1301858 w 3169404"/>
              <a:gd name="connsiteY18" fmla="*/ 2045776 h 2425485"/>
              <a:gd name="connsiteX19" fmla="*/ 1108129 w 3169404"/>
              <a:gd name="connsiteY19" fmla="*/ 1774556 h 2425485"/>
              <a:gd name="connsiteX20" fmla="*/ 999641 w 3169404"/>
              <a:gd name="connsiteY20" fmla="*/ 1542081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20672 w 3169404"/>
              <a:gd name="connsiteY3" fmla="*/ 488197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495587 w 3169404"/>
              <a:gd name="connsiteY7" fmla="*/ 984142 h 2425485"/>
              <a:gd name="connsiteX8" fmla="*/ 1743560 w 3169404"/>
              <a:gd name="connsiteY8" fmla="*/ 960895 h 2425485"/>
              <a:gd name="connsiteX9" fmla="*/ 2286000 w 3169404"/>
              <a:gd name="connsiteY9" fmla="*/ 914400 h 2425485"/>
              <a:gd name="connsiteX10" fmla="*/ 2750950 w 3169404"/>
              <a:gd name="connsiteY10" fmla="*/ 813661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69763 w 3169404"/>
              <a:gd name="connsiteY16" fmla="*/ 2394488 h 2425485"/>
              <a:gd name="connsiteX17" fmla="*/ 1766807 w 3169404"/>
              <a:gd name="connsiteY17" fmla="*/ 2208508 h 2425485"/>
              <a:gd name="connsiteX18" fmla="*/ 1301858 w 3169404"/>
              <a:gd name="connsiteY18" fmla="*/ 2045776 h 2425485"/>
              <a:gd name="connsiteX19" fmla="*/ 1108129 w 3169404"/>
              <a:gd name="connsiteY19" fmla="*/ 1774556 h 2425485"/>
              <a:gd name="connsiteX20" fmla="*/ 999641 w 3169404"/>
              <a:gd name="connsiteY20" fmla="*/ 1542081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20672 w 3169404"/>
              <a:gd name="connsiteY3" fmla="*/ 488197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495587 w 3169404"/>
              <a:gd name="connsiteY7" fmla="*/ 984142 h 2425485"/>
              <a:gd name="connsiteX8" fmla="*/ 1743560 w 3169404"/>
              <a:gd name="connsiteY8" fmla="*/ 960895 h 2425485"/>
              <a:gd name="connsiteX9" fmla="*/ 2286000 w 3169404"/>
              <a:gd name="connsiteY9" fmla="*/ 914400 h 2425485"/>
              <a:gd name="connsiteX10" fmla="*/ 2696706 w 3169404"/>
              <a:gd name="connsiteY10" fmla="*/ 891153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69763 w 3169404"/>
              <a:gd name="connsiteY16" fmla="*/ 2394488 h 2425485"/>
              <a:gd name="connsiteX17" fmla="*/ 1766807 w 3169404"/>
              <a:gd name="connsiteY17" fmla="*/ 2208508 h 2425485"/>
              <a:gd name="connsiteX18" fmla="*/ 1301858 w 3169404"/>
              <a:gd name="connsiteY18" fmla="*/ 2045776 h 2425485"/>
              <a:gd name="connsiteX19" fmla="*/ 1108129 w 3169404"/>
              <a:gd name="connsiteY19" fmla="*/ 1774556 h 2425485"/>
              <a:gd name="connsiteX20" fmla="*/ 999641 w 3169404"/>
              <a:gd name="connsiteY20" fmla="*/ 1542081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05174 w 3169404"/>
              <a:gd name="connsiteY3" fmla="*/ 519194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495587 w 3169404"/>
              <a:gd name="connsiteY7" fmla="*/ 984142 h 2425485"/>
              <a:gd name="connsiteX8" fmla="*/ 1743560 w 3169404"/>
              <a:gd name="connsiteY8" fmla="*/ 960895 h 2425485"/>
              <a:gd name="connsiteX9" fmla="*/ 2286000 w 3169404"/>
              <a:gd name="connsiteY9" fmla="*/ 914400 h 2425485"/>
              <a:gd name="connsiteX10" fmla="*/ 2696706 w 3169404"/>
              <a:gd name="connsiteY10" fmla="*/ 891153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69763 w 3169404"/>
              <a:gd name="connsiteY16" fmla="*/ 2394488 h 2425485"/>
              <a:gd name="connsiteX17" fmla="*/ 1766807 w 3169404"/>
              <a:gd name="connsiteY17" fmla="*/ 2208508 h 2425485"/>
              <a:gd name="connsiteX18" fmla="*/ 1301858 w 3169404"/>
              <a:gd name="connsiteY18" fmla="*/ 2045776 h 2425485"/>
              <a:gd name="connsiteX19" fmla="*/ 1108129 w 3169404"/>
              <a:gd name="connsiteY19" fmla="*/ 1774556 h 2425485"/>
              <a:gd name="connsiteX20" fmla="*/ 999641 w 3169404"/>
              <a:gd name="connsiteY20" fmla="*/ 1542081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05174 w 3169404"/>
              <a:gd name="connsiteY3" fmla="*/ 519194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495587 w 3169404"/>
              <a:gd name="connsiteY7" fmla="*/ 984142 h 2425485"/>
              <a:gd name="connsiteX8" fmla="*/ 1743560 w 3169404"/>
              <a:gd name="connsiteY8" fmla="*/ 960895 h 2425485"/>
              <a:gd name="connsiteX9" fmla="*/ 2286000 w 3169404"/>
              <a:gd name="connsiteY9" fmla="*/ 914400 h 2425485"/>
              <a:gd name="connsiteX10" fmla="*/ 2696706 w 3169404"/>
              <a:gd name="connsiteY10" fmla="*/ 891153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69763 w 3169404"/>
              <a:gd name="connsiteY16" fmla="*/ 2394488 h 2425485"/>
              <a:gd name="connsiteX17" fmla="*/ 1766807 w 3169404"/>
              <a:gd name="connsiteY17" fmla="*/ 2208508 h 2425485"/>
              <a:gd name="connsiteX18" fmla="*/ 1359008 w 3169404"/>
              <a:gd name="connsiteY18" fmla="*/ 2026726 h 2425485"/>
              <a:gd name="connsiteX19" fmla="*/ 1108129 w 3169404"/>
              <a:gd name="connsiteY19" fmla="*/ 1774556 h 2425485"/>
              <a:gd name="connsiteX20" fmla="*/ 999641 w 3169404"/>
              <a:gd name="connsiteY20" fmla="*/ 1542081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05174 w 3169404"/>
              <a:gd name="connsiteY3" fmla="*/ 519194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495587 w 3169404"/>
              <a:gd name="connsiteY7" fmla="*/ 984142 h 2425485"/>
              <a:gd name="connsiteX8" fmla="*/ 1743560 w 3169404"/>
              <a:gd name="connsiteY8" fmla="*/ 960895 h 2425485"/>
              <a:gd name="connsiteX9" fmla="*/ 2286000 w 3169404"/>
              <a:gd name="connsiteY9" fmla="*/ 914400 h 2425485"/>
              <a:gd name="connsiteX10" fmla="*/ 2696706 w 3169404"/>
              <a:gd name="connsiteY10" fmla="*/ 891153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69763 w 3169404"/>
              <a:gd name="connsiteY16" fmla="*/ 2394488 h 2425485"/>
              <a:gd name="connsiteX17" fmla="*/ 1766807 w 3169404"/>
              <a:gd name="connsiteY17" fmla="*/ 2208508 h 2425485"/>
              <a:gd name="connsiteX18" fmla="*/ 1359008 w 3169404"/>
              <a:gd name="connsiteY18" fmla="*/ 2026726 h 2425485"/>
              <a:gd name="connsiteX19" fmla="*/ 1108129 w 3169404"/>
              <a:gd name="connsiteY19" fmla="*/ 1774556 h 2425485"/>
              <a:gd name="connsiteX20" fmla="*/ 1037741 w 3169404"/>
              <a:gd name="connsiteY20" fmla="*/ 1546844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05174 w 3169404"/>
              <a:gd name="connsiteY3" fmla="*/ 519194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495587 w 3169404"/>
              <a:gd name="connsiteY7" fmla="*/ 984142 h 2425485"/>
              <a:gd name="connsiteX8" fmla="*/ 1743560 w 3169404"/>
              <a:gd name="connsiteY8" fmla="*/ 960895 h 2425485"/>
              <a:gd name="connsiteX9" fmla="*/ 2286000 w 3169404"/>
              <a:gd name="connsiteY9" fmla="*/ 914400 h 2425485"/>
              <a:gd name="connsiteX10" fmla="*/ 2696706 w 3169404"/>
              <a:gd name="connsiteY10" fmla="*/ 891153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69763 w 3169404"/>
              <a:gd name="connsiteY16" fmla="*/ 2394488 h 2425485"/>
              <a:gd name="connsiteX17" fmla="*/ 1766807 w 3169404"/>
              <a:gd name="connsiteY17" fmla="*/ 2208508 h 2425485"/>
              <a:gd name="connsiteX18" fmla="*/ 1359008 w 3169404"/>
              <a:gd name="connsiteY18" fmla="*/ 2026726 h 2425485"/>
              <a:gd name="connsiteX19" fmla="*/ 1150991 w 3169404"/>
              <a:gd name="connsiteY19" fmla="*/ 1774556 h 2425485"/>
              <a:gd name="connsiteX20" fmla="*/ 1037741 w 3169404"/>
              <a:gd name="connsiteY20" fmla="*/ 1546844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25485"/>
              <a:gd name="connsiteX1" fmla="*/ 247973 w 3169404"/>
              <a:gd name="connsiteY1" fmla="*/ 123986 h 2425485"/>
              <a:gd name="connsiteX2" fmla="*/ 480448 w 3169404"/>
              <a:gd name="connsiteY2" fmla="*/ 325464 h 2425485"/>
              <a:gd name="connsiteX3" fmla="*/ 705174 w 3169404"/>
              <a:gd name="connsiteY3" fmla="*/ 519194 h 2425485"/>
              <a:gd name="connsiteX4" fmla="*/ 821411 w 3169404"/>
              <a:gd name="connsiteY4" fmla="*/ 619932 h 2425485"/>
              <a:gd name="connsiteX5" fmla="*/ 1007390 w 3169404"/>
              <a:gd name="connsiteY5" fmla="*/ 813661 h 2425485"/>
              <a:gd name="connsiteX6" fmla="*/ 1170122 w 3169404"/>
              <a:gd name="connsiteY6" fmla="*/ 906651 h 2425485"/>
              <a:gd name="connsiteX7" fmla="*/ 1495587 w 3169404"/>
              <a:gd name="connsiteY7" fmla="*/ 984142 h 2425485"/>
              <a:gd name="connsiteX8" fmla="*/ 1743560 w 3169404"/>
              <a:gd name="connsiteY8" fmla="*/ 960895 h 2425485"/>
              <a:gd name="connsiteX9" fmla="*/ 2286000 w 3169404"/>
              <a:gd name="connsiteY9" fmla="*/ 914400 h 2425485"/>
              <a:gd name="connsiteX10" fmla="*/ 2696706 w 3169404"/>
              <a:gd name="connsiteY10" fmla="*/ 891153 h 2425485"/>
              <a:gd name="connsiteX11" fmla="*/ 3068665 w 3169404"/>
              <a:gd name="connsiteY11" fmla="*/ 1363851 h 2425485"/>
              <a:gd name="connsiteX12" fmla="*/ 3169404 w 3169404"/>
              <a:gd name="connsiteY12" fmla="*/ 1836549 h 2425485"/>
              <a:gd name="connsiteX13" fmla="*/ 3169404 w 3169404"/>
              <a:gd name="connsiteY13" fmla="*/ 2146515 h 2425485"/>
              <a:gd name="connsiteX14" fmla="*/ 3053167 w 3169404"/>
              <a:gd name="connsiteY14" fmla="*/ 2386739 h 2425485"/>
              <a:gd name="connsiteX15" fmla="*/ 2681207 w 3169404"/>
              <a:gd name="connsiteY15" fmla="*/ 2425485 h 2425485"/>
              <a:gd name="connsiteX16" fmla="*/ 2179288 w 3169404"/>
              <a:gd name="connsiteY16" fmla="*/ 2361150 h 2425485"/>
              <a:gd name="connsiteX17" fmla="*/ 1766807 w 3169404"/>
              <a:gd name="connsiteY17" fmla="*/ 2208508 h 2425485"/>
              <a:gd name="connsiteX18" fmla="*/ 1359008 w 3169404"/>
              <a:gd name="connsiteY18" fmla="*/ 2026726 h 2425485"/>
              <a:gd name="connsiteX19" fmla="*/ 1150991 w 3169404"/>
              <a:gd name="connsiteY19" fmla="*/ 1774556 h 2425485"/>
              <a:gd name="connsiteX20" fmla="*/ 1037741 w 3169404"/>
              <a:gd name="connsiteY20" fmla="*/ 1546844 h 2425485"/>
              <a:gd name="connsiteX21" fmla="*/ 1077133 w 3169404"/>
              <a:gd name="connsiteY21" fmla="*/ 1286359 h 2425485"/>
              <a:gd name="connsiteX22" fmla="*/ 1077133 w 3169404"/>
              <a:gd name="connsiteY22" fmla="*/ 945397 h 2425485"/>
              <a:gd name="connsiteX23" fmla="*/ 875655 w 3169404"/>
              <a:gd name="connsiteY23" fmla="*/ 736169 h 2425485"/>
              <a:gd name="connsiteX24" fmla="*/ 596685 w 3169404"/>
              <a:gd name="connsiteY24" fmla="*/ 480447 h 2425485"/>
              <a:gd name="connsiteX25" fmla="*/ 402956 w 3169404"/>
              <a:gd name="connsiteY25" fmla="*/ 325464 h 2425485"/>
              <a:gd name="connsiteX26" fmla="*/ 46495 w 3169404"/>
              <a:gd name="connsiteY26" fmla="*/ 85241 h 2425485"/>
              <a:gd name="connsiteX27" fmla="*/ 0 w 3169404"/>
              <a:gd name="connsiteY27" fmla="*/ 0 h 2425485"/>
              <a:gd name="connsiteX0" fmla="*/ 0 w 3169404"/>
              <a:gd name="connsiteY0" fmla="*/ 0 h 2406435"/>
              <a:gd name="connsiteX1" fmla="*/ 247973 w 3169404"/>
              <a:gd name="connsiteY1" fmla="*/ 123986 h 2406435"/>
              <a:gd name="connsiteX2" fmla="*/ 480448 w 3169404"/>
              <a:gd name="connsiteY2" fmla="*/ 325464 h 2406435"/>
              <a:gd name="connsiteX3" fmla="*/ 705174 w 3169404"/>
              <a:gd name="connsiteY3" fmla="*/ 519194 h 2406435"/>
              <a:gd name="connsiteX4" fmla="*/ 821411 w 3169404"/>
              <a:gd name="connsiteY4" fmla="*/ 619932 h 2406435"/>
              <a:gd name="connsiteX5" fmla="*/ 1007390 w 3169404"/>
              <a:gd name="connsiteY5" fmla="*/ 813661 h 2406435"/>
              <a:gd name="connsiteX6" fmla="*/ 1170122 w 3169404"/>
              <a:gd name="connsiteY6" fmla="*/ 906651 h 2406435"/>
              <a:gd name="connsiteX7" fmla="*/ 1495587 w 3169404"/>
              <a:gd name="connsiteY7" fmla="*/ 984142 h 2406435"/>
              <a:gd name="connsiteX8" fmla="*/ 1743560 w 3169404"/>
              <a:gd name="connsiteY8" fmla="*/ 960895 h 2406435"/>
              <a:gd name="connsiteX9" fmla="*/ 2286000 w 3169404"/>
              <a:gd name="connsiteY9" fmla="*/ 914400 h 2406435"/>
              <a:gd name="connsiteX10" fmla="*/ 2696706 w 3169404"/>
              <a:gd name="connsiteY10" fmla="*/ 891153 h 2406435"/>
              <a:gd name="connsiteX11" fmla="*/ 3068665 w 3169404"/>
              <a:gd name="connsiteY11" fmla="*/ 1363851 h 2406435"/>
              <a:gd name="connsiteX12" fmla="*/ 3169404 w 3169404"/>
              <a:gd name="connsiteY12" fmla="*/ 1836549 h 2406435"/>
              <a:gd name="connsiteX13" fmla="*/ 3169404 w 3169404"/>
              <a:gd name="connsiteY13" fmla="*/ 2146515 h 2406435"/>
              <a:gd name="connsiteX14" fmla="*/ 3053167 w 3169404"/>
              <a:gd name="connsiteY14" fmla="*/ 2386739 h 2406435"/>
              <a:gd name="connsiteX15" fmla="*/ 2681207 w 3169404"/>
              <a:gd name="connsiteY15" fmla="*/ 2406435 h 2406435"/>
              <a:gd name="connsiteX16" fmla="*/ 2179288 w 3169404"/>
              <a:gd name="connsiteY16" fmla="*/ 2361150 h 2406435"/>
              <a:gd name="connsiteX17" fmla="*/ 1766807 w 3169404"/>
              <a:gd name="connsiteY17" fmla="*/ 2208508 h 2406435"/>
              <a:gd name="connsiteX18" fmla="*/ 1359008 w 3169404"/>
              <a:gd name="connsiteY18" fmla="*/ 2026726 h 2406435"/>
              <a:gd name="connsiteX19" fmla="*/ 1150991 w 3169404"/>
              <a:gd name="connsiteY19" fmla="*/ 1774556 h 2406435"/>
              <a:gd name="connsiteX20" fmla="*/ 1037741 w 3169404"/>
              <a:gd name="connsiteY20" fmla="*/ 1546844 h 2406435"/>
              <a:gd name="connsiteX21" fmla="*/ 1077133 w 3169404"/>
              <a:gd name="connsiteY21" fmla="*/ 1286359 h 2406435"/>
              <a:gd name="connsiteX22" fmla="*/ 1077133 w 3169404"/>
              <a:gd name="connsiteY22" fmla="*/ 945397 h 2406435"/>
              <a:gd name="connsiteX23" fmla="*/ 875655 w 3169404"/>
              <a:gd name="connsiteY23" fmla="*/ 736169 h 2406435"/>
              <a:gd name="connsiteX24" fmla="*/ 596685 w 3169404"/>
              <a:gd name="connsiteY24" fmla="*/ 480447 h 2406435"/>
              <a:gd name="connsiteX25" fmla="*/ 402956 w 3169404"/>
              <a:gd name="connsiteY25" fmla="*/ 325464 h 2406435"/>
              <a:gd name="connsiteX26" fmla="*/ 46495 w 3169404"/>
              <a:gd name="connsiteY26" fmla="*/ 85241 h 2406435"/>
              <a:gd name="connsiteX27" fmla="*/ 0 w 3169404"/>
              <a:gd name="connsiteY27" fmla="*/ 0 h 2406435"/>
              <a:gd name="connsiteX0" fmla="*/ 0 w 3169404"/>
              <a:gd name="connsiteY0" fmla="*/ 0 h 2406435"/>
              <a:gd name="connsiteX1" fmla="*/ 247973 w 3169404"/>
              <a:gd name="connsiteY1" fmla="*/ 123986 h 2406435"/>
              <a:gd name="connsiteX2" fmla="*/ 480448 w 3169404"/>
              <a:gd name="connsiteY2" fmla="*/ 325464 h 2406435"/>
              <a:gd name="connsiteX3" fmla="*/ 705174 w 3169404"/>
              <a:gd name="connsiteY3" fmla="*/ 519194 h 2406435"/>
              <a:gd name="connsiteX4" fmla="*/ 821411 w 3169404"/>
              <a:gd name="connsiteY4" fmla="*/ 619932 h 2406435"/>
              <a:gd name="connsiteX5" fmla="*/ 1007390 w 3169404"/>
              <a:gd name="connsiteY5" fmla="*/ 813661 h 2406435"/>
              <a:gd name="connsiteX6" fmla="*/ 1170122 w 3169404"/>
              <a:gd name="connsiteY6" fmla="*/ 906651 h 2406435"/>
              <a:gd name="connsiteX7" fmla="*/ 1495587 w 3169404"/>
              <a:gd name="connsiteY7" fmla="*/ 984142 h 2406435"/>
              <a:gd name="connsiteX8" fmla="*/ 1743560 w 3169404"/>
              <a:gd name="connsiteY8" fmla="*/ 960895 h 2406435"/>
              <a:gd name="connsiteX9" fmla="*/ 2286000 w 3169404"/>
              <a:gd name="connsiteY9" fmla="*/ 914400 h 2406435"/>
              <a:gd name="connsiteX10" fmla="*/ 2696706 w 3169404"/>
              <a:gd name="connsiteY10" fmla="*/ 891153 h 2406435"/>
              <a:gd name="connsiteX11" fmla="*/ 3068665 w 3169404"/>
              <a:gd name="connsiteY11" fmla="*/ 1363851 h 2406435"/>
              <a:gd name="connsiteX12" fmla="*/ 3169404 w 3169404"/>
              <a:gd name="connsiteY12" fmla="*/ 1836549 h 2406435"/>
              <a:gd name="connsiteX13" fmla="*/ 3169404 w 3169404"/>
              <a:gd name="connsiteY13" fmla="*/ 2146515 h 2406435"/>
              <a:gd name="connsiteX14" fmla="*/ 3029355 w 3169404"/>
              <a:gd name="connsiteY14" fmla="*/ 2358164 h 2406435"/>
              <a:gd name="connsiteX15" fmla="*/ 2681207 w 3169404"/>
              <a:gd name="connsiteY15" fmla="*/ 2406435 h 2406435"/>
              <a:gd name="connsiteX16" fmla="*/ 2179288 w 3169404"/>
              <a:gd name="connsiteY16" fmla="*/ 2361150 h 2406435"/>
              <a:gd name="connsiteX17" fmla="*/ 1766807 w 3169404"/>
              <a:gd name="connsiteY17" fmla="*/ 2208508 h 2406435"/>
              <a:gd name="connsiteX18" fmla="*/ 1359008 w 3169404"/>
              <a:gd name="connsiteY18" fmla="*/ 2026726 h 2406435"/>
              <a:gd name="connsiteX19" fmla="*/ 1150991 w 3169404"/>
              <a:gd name="connsiteY19" fmla="*/ 1774556 h 2406435"/>
              <a:gd name="connsiteX20" fmla="*/ 1037741 w 3169404"/>
              <a:gd name="connsiteY20" fmla="*/ 1546844 h 2406435"/>
              <a:gd name="connsiteX21" fmla="*/ 1077133 w 3169404"/>
              <a:gd name="connsiteY21" fmla="*/ 1286359 h 2406435"/>
              <a:gd name="connsiteX22" fmla="*/ 1077133 w 3169404"/>
              <a:gd name="connsiteY22" fmla="*/ 945397 h 2406435"/>
              <a:gd name="connsiteX23" fmla="*/ 875655 w 3169404"/>
              <a:gd name="connsiteY23" fmla="*/ 736169 h 2406435"/>
              <a:gd name="connsiteX24" fmla="*/ 596685 w 3169404"/>
              <a:gd name="connsiteY24" fmla="*/ 480447 h 2406435"/>
              <a:gd name="connsiteX25" fmla="*/ 402956 w 3169404"/>
              <a:gd name="connsiteY25" fmla="*/ 325464 h 2406435"/>
              <a:gd name="connsiteX26" fmla="*/ 46495 w 3169404"/>
              <a:gd name="connsiteY26" fmla="*/ 85241 h 2406435"/>
              <a:gd name="connsiteX27" fmla="*/ 0 w 3169404"/>
              <a:gd name="connsiteY27" fmla="*/ 0 h 2406435"/>
              <a:gd name="connsiteX0" fmla="*/ 0 w 3169404"/>
              <a:gd name="connsiteY0" fmla="*/ 0 h 2406435"/>
              <a:gd name="connsiteX1" fmla="*/ 247973 w 3169404"/>
              <a:gd name="connsiteY1" fmla="*/ 123986 h 2406435"/>
              <a:gd name="connsiteX2" fmla="*/ 480448 w 3169404"/>
              <a:gd name="connsiteY2" fmla="*/ 325464 h 2406435"/>
              <a:gd name="connsiteX3" fmla="*/ 705174 w 3169404"/>
              <a:gd name="connsiteY3" fmla="*/ 519194 h 2406435"/>
              <a:gd name="connsiteX4" fmla="*/ 821411 w 3169404"/>
              <a:gd name="connsiteY4" fmla="*/ 619932 h 2406435"/>
              <a:gd name="connsiteX5" fmla="*/ 1007390 w 3169404"/>
              <a:gd name="connsiteY5" fmla="*/ 813661 h 2406435"/>
              <a:gd name="connsiteX6" fmla="*/ 1170122 w 3169404"/>
              <a:gd name="connsiteY6" fmla="*/ 906651 h 2406435"/>
              <a:gd name="connsiteX7" fmla="*/ 1495587 w 3169404"/>
              <a:gd name="connsiteY7" fmla="*/ 984142 h 2406435"/>
              <a:gd name="connsiteX8" fmla="*/ 1743560 w 3169404"/>
              <a:gd name="connsiteY8" fmla="*/ 960895 h 2406435"/>
              <a:gd name="connsiteX9" fmla="*/ 2286000 w 3169404"/>
              <a:gd name="connsiteY9" fmla="*/ 914400 h 2406435"/>
              <a:gd name="connsiteX10" fmla="*/ 2696706 w 3169404"/>
              <a:gd name="connsiteY10" fmla="*/ 891153 h 2406435"/>
              <a:gd name="connsiteX11" fmla="*/ 3068665 w 3169404"/>
              <a:gd name="connsiteY11" fmla="*/ 1363851 h 2406435"/>
              <a:gd name="connsiteX12" fmla="*/ 3169404 w 3169404"/>
              <a:gd name="connsiteY12" fmla="*/ 1836549 h 2406435"/>
              <a:gd name="connsiteX13" fmla="*/ 3145591 w 3169404"/>
              <a:gd name="connsiteY13" fmla="*/ 2103653 h 2406435"/>
              <a:gd name="connsiteX14" fmla="*/ 3029355 w 3169404"/>
              <a:gd name="connsiteY14" fmla="*/ 2358164 h 2406435"/>
              <a:gd name="connsiteX15" fmla="*/ 2681207 w 3169404"/>
              <a:gd name="connsiteY15" fmla="*/ 2406435 h 2406435"/>
              <a:gd name="connsiteX16" fmla="*/ 2179288 w 3169404"/>
              <a:gd name="connsiteY16" fmla="*/ 2361150 h 2406435"/>
              <a:gd name="connsiteX17" fmla="*/ 1766807 w 3169404"/>
              <a:gd name="connsiteY17" fmla="*/ 2208508 h 2406435"/>
              <a:gd name="connsiteX18" fmla="*/ 1359008 w 3169404"/>
              <a:gd name="connsiteY18" fmla="*/ 2026726 h 2406435"/>
              <a:gd name="connsiteX19" fmla="*/ 1150991 w 3169404"/>
              <a:gd name="connsiteY19" fmla="*/ 1774556 h 2406435"/>
              <a:gd name="connsiteX20" fmla="*/ 1037741 w 3169404"/>
              <a:gd name="connsiteY20" fmla="*/ 1546844 h 2406435"/>
              <a:gd name="connsiteX21" fmla="*/ 1077133 w 3169404"/>
              <a:gd name="connsiteY21" fmla="*/ 1286359 h 2406435"/>
              <a:gd name="connsiteX22" fmla="*/ 1077133 w 3169404"/>
              <a:gd name="connsiteY22" fmla="*/ 945397 h 2406435"/>
              <a:gd name="connsiteX23" fmla="*/ 875655 w 3169404"/>
              <a:gd name="connsiteY23" fmla="*/ 736169 h 2406435"/>
              <a:gd name="connsiteX24" fmla="*/ 596685 w 3169404"/>
              <a:gd name="connsiteY24" fmla="*/ 480447 h 2406435"/>
              <a:gd name="connsiteX25" fmla="*/ 402956 w 3169404"/>
              <a:gd name="connsiteY25" fmla="*/ 325464 h 2406435"/>
              <a:gd name="connsiteX26" fmla="*/ 46495 w 3169404"/>
              <a:gd name="connsiteY26" fmla="*/ 85241 h 2406435"/>
              <a:gd name="connsiteX27" fmla="*/ 0 w 3169404"/>
              <a:gd name="connsiteY27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495587 w 3183691"/>
              <a:gd name="connsiteY7" fmla="*/ 984142 h 2406435"/>
              <a:gd name="connsiteX8" fmla="*/ 1743560 w 3183691"/>
              <a:gd name="connsiteY8" fmla="*/ 960895 h 2406435"/>
              <a:gd name="connsiteX9" fmla="*/ 2286000 w 3183691"/>
              <a:gd name="connsiteY9" fmla="*/ 914400 h 2406435"/>
              <a:gd name="connsiteX10" fmla="*/ 2696706 w 3183691"/>
              <a:gd name="connsiteY10" fmla="*/ 891153 h 2406435"/>
              <a:gd name="connsiteX11" fmla="*/ 3068665 w 3183691"/>
              <a:gd name="connsiteY11" fmla="*/ 1363851 h 2406435"/>
              <a:gd name="connsiteX12" fmla="*/ 3183691 w 3183691"/>
              <a:gd name="connsiteY12" fmla="*/ 1760349 h 2406435"/>
              <a:gd name="connsiteX13" fmla="*/ 3145591 w 3183691"/>
              <a:gd name="connsiteY13" fmla="*/ 2103653 h 2406435"/>
              <a:gd name="connsiteX14" fmla="*/ 3029355 w 3183691"/>
              <a:gd name="connsiteY14" fmla="*/ 2358164 h 2406435"/>
              <a:gd name="connsiteX15" fmla="*/ 2681207 w 3183691"/>
              <a:gd name="connsiteY15" fmla="*/ 2406435 h 2406435"/>
              <a:gd name="connsiteX16" fmla="*/ 2179288 w 3183691"/>
              <a:gd name="connsiteY16" fmla="*/ 2361150 h 2406435"/>
              <a:gd name="connsiteX17" fmla="*/ 1766807 w 3183691"/>
              <a:gd name="connsiteY17" fmla="*/ 2208508 h 2406435"/>
              <a:gd name="connsiteX18" fmla="*/ 1359008 w 3183691"/>
              <a:gd name="connsiteY18" fmla="*/ 2026726 h 2406435"/>
              <a:gd name="connsiteX19" fmla="*/ 1150991 w 3183691"/>
              <a:gd name="connsiteY19" fmla="*/ 1774556 h 2406435"/>
              <a:gd name="connsiteX20" fmla="*/ 1037741 w 3183691"/>
              <a:gd name="connsiteY20" fmla="*/ 1546844 h 2406435"/>
              <a:gd name="connsiteX21" fmla="*/ 1077133 w 3183691"/>
              <a:gd name="connsiteY21" fmla="*/ 1286359 h 2406435"/>
              <a:gd name="connsiteX22" fmla="*/ 1077133 w 3183691"/>
              <a:gd name="connsiteY22" fmla="*/ 945397 h 2406435"/>
              <a:gd name="connsiteX23" fmla="*/ 875655 w 3183691"/>
              <a:gd name="connsiteY23" fmla="*/ 736169 h 2406435"/>
              <a:gd name="connsiteX24" fmla="*/ 596685 w 3183691"/>
              <a:gd name="connsiteY24" fmla="*/ 480447 h 2406435"/>
              <a:gd name="connsiteX25" fmla="*/ 402956 w 3183691"/>
              <a:gd name="connsiteY25" fmla="*/ 325464 h 2406435"/>
              <a:gd name="connsiteX26" fmla="*/ 46495 w 3183691"/>
              <a:gd name="connsiteY26" fmla="*/ 85241 h 2406435"/>
              <a:gd name="connsiteX27" fmla="*/ 0 w 3183691"/>
              <a:gd name="connsiteY27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495587 w 3183691"/>
              <a:gd name="connsiteY7" fmla="*/ 984142 h 2406435"/>
              <a:gd name="connsiteX8" fmla="*/ 1743560 w 3183691"/>
              <a:gd name="connsiteY8" fmla="*/ 960895 h 2406435"/>
              <a:gd name="connsiteX9" fmla="*/ 2286000 w 3183691"/>
              <a:gd name="connsiteY9" fmla="*/ 914400 h 2406435"/>
              <a:gd name="connsiteX10" fmla="*/ 2696706 w 3183691"/>
              <a:gd name="connsiteY10" fmla="*/ 891153 h 2406435"/>
              <a:gd name="connsiteX11" fmla="*/ 3068665 w 3183691"/>
              <a:gd name="connsiteY11" fmla="*/ 1363851 h 2406435"/>
              <a:gd name="connsiteX12" fmla="*/ 3128802 w 3183691"/>
              <a:gd name="connsiteY12" fmla="*/ 1559194 h 2406435"/>
              <a:gd name="connsiteX13" fmla="*/ 3183691 w 3183691"/>
              <a:gd name="connsiteY13" fmla="*/ 1760349 h 2406435"/>
              <a:gd name="connsiteX14" fmla="*/ 3145591 w 3183691"/>
              <a:gd name="connsiteY14" fmla="*/ 2103653 h 2406435"/>
              <a:gd name="connsiteX15" fmla="*/ 3029355 w 3183691"/>
              <a:gd name="connsiteY15" fmla="*/ 2358164 h 2406435"/>
              <a:gd name="connsiteX16" fmla="*/ 2681207 w 3183691"/>
              <a:gd name="connsiteY16" fmla="*/ 2406435 h 2406435"/>
              <a:gd name="connsiteX17" fmla="*/ 2179288 w 3183691"/>
              <a:gd name="connsiteY17" fmla="*/ 2361150 h 2406435"/>
              <a:gd name="connsiteX18" fmla="*/ 1766807 w 3183691"/>
              <a:gd name="connsiteY18" fmla="*/ 2208508 h 2406435"/>
              <a:gd name="connsiteX19" fmla="*/ 1359008 w 3183691"/>
              <a:gd name="connsiteY19" fmla="*/ 2026726 h 2406435"/>
              <a:gd name="connsiteX20" fmla="*/ 1150991 w 3183691"/>
              <a:gd name="connsiteY20" fmla="*/ 1774556 h 2406435"/>
              <a:gd name="connsiteX21" fmla="*/ 1037741 w 3183691"/>
              <a:gd name="connsiteY21" fmla="*/ 1546844 h 2406435"/>
              <a:gd name="connsiteX22" fmla="*/ 1077133 w 3183691"/>
              <a:gd name="connsiteY22" fmla="*/ 1286359 h 2406435"/>
              <a:gd name="connsiteX23" fmla="*/ 1077133 w 3183691"/>
              <a:gd name="connsiteY23" fmla="*/ 945397 h 2406435"/>
              <a:gd name="connsiteX24" fmla="*/ 875655 w 3183691"/>
              <a:gd name="connsiteY24" fmla="*/ 736169 h 2406435"/>
              <a:gd name="connsiteX25" fmla="*/ 596685 w 3183691"/>
              <a:gd name="connsiteY25" fmla="*/ 480447 h 2406435"/>
              <a:gd name="connsiteX26" fmla="*/ 402956 w 3183691"/>
              <a:gd name="connsiteY26" fmla="*/ 325464 h 2406435"/>
              <a:gd name="connsiteX27" fmla="*/ 46495 w 3183691"/>
              <a:gd name="connsiteY27" fmla="*/ 85241 h 2406435"/>
              <a:gd name="connsiteX28" fmla="*/ 0 w 3183691"/>
              <a:gd name="connsiteY28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495587 w 3183691"/>
              <a:gd name="connsiteY7" fmla="*/ 984142 h 2406435"/>
              <a:gd name="connsiteX8" fmla="*/ 1743560 w 3183691"/>
              <a:gd name="connsiteY8" fmla="*/ 960895 h 2406435"/>
              <a:gd name="connsiteX9" fmla="*/ 2286000 w 3183691"/>
              <a:gd name="connsiteY9" fmla="*/ 914400 h 2406435"/>
              <a:gd name="connsiteX10" fmla="*/ 2696706 w 3183691"/>
              <a:gd name="connsiteY10" fmla="*/ 891153 h 2406435"/>
              <a:gd name="connsiteX11" fmla="*/ 3068665 w 3183691"/>
              <a:gd name="connsiteY11" fmla="*/ 1363851 h 2406435"/>
              <a:gd name="connsiteX12" fmla="*/ 3157377 w 3183691"/>
              <a:gd name="connsiteY12" fmla="*/ 1549669 h 2406435"/>
              <a:gd name="connsiteX13" fmla="*/ 3183691 w 3183691"/>
              <a:gd name="connsiteY13" fmla="*/ 1760349 h 2406435"/>
              <a:gd name="connsiteX14" fmla="*/ 3145591 w 3183691"/>
              <a:gd name="connsiteY14" fmla="*/ 2103653 h 2406435"/>
              <a:gd name="connsiteX15" fmla="*/ 3029355 w 3183691"/>
              <a:gd name="connsiteY15" fmla="*/ 2358164 h 2406435"/>
              <a:gd name="connsiteX16" fmla="*/ 2681207 w 3183691"/>
              <a:gd name="connsiteY16" fmla="*/ 2406435 h 2406435"/>
              <a:gd name="connsiteX17" fmla="*/ 2179288 w 3183691"/>
              <a:gd name="connsiteY17" fmla="*/ 2361150 h 2406435"/>
              <a:gd name="connsiteX18" fmla="*/ 1766807 w 3183691"/>
              <a:gd name="connsiteY18" fmla="*/ 2208508 h 2406435"/>
              <a:gd name="connsiteX19" fmla="*/ 1359008 w 3183691"/>
              <a:gd name="connsiteY19" fmla="*/ 2026726 h 2406435"/>
              <a:gd name="connsiteX20" fmla="*/ 1150991 w 3183691"/>
              <a:gd name="connsiteY20" fmla="*/ 1774556 h 2406435"/>
              <a:gd name="connsiteX21" fmla="*/ 1037741 w 3183691"/>
              <a:gd name="connsiteY21" fmla="*/ 1546844 h 2406435"/>
              <a:gd name="connsiteX22" fmla="*/ 1077133 w 3183691"/>
              <a:gd name="connsiteY22" fmla="*/ 1286359 h 2406435"/>
              <a:gd name="connsiteX23" fmla="*/ 1077133 w 3183691"/>
              <a:gd name="connsiteY23" fmla="*/ 945397 h 2406435"/>
              <a:gd name="connsiteX24" fmla="*/ 875655 w 3183691"/>
              <a:gd name="connsiteY24" fmla="*/ 736169 h 2406435"/>
              <a:gd name="connsiteX25" fmla="*/ 596685 w 3183691"/>
              <a:gd name="connsiteY25" fmla="*/ 480447 h 2406435"/>
              <a:gd name="connsiteX26" fmla="*/ 402956 w 3183691"/>
              <a:gd name="connsiteY26" fmla="*/ 325464 h 2406435"/>
              <a:gd name="connsiteX27" fmla="*/ 46495 w 3183691"/>
              <a:gd name="connsiteY27" fmla="*/ 85241 h 2406435"/>
              <a:gd name="connsiteX28" fmla="*/ 0 w 3183691"/>
              <a:gd name="connsiteY28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495587 w 3183691"/>
              <a:gd name="connsiteY7" fmla="*/ 984142 h 2406435"/>
              <a:gd name="connsiteX8" fmla="*/ 1743560 w 3183691"/>
              <a:gd name="connsiteY8" fmla="*/ 960895 h 2406435"/>
              <a:gd name="connsiteX9" fmla="*/ 2286000 w 3183691"/>
              <a:gd name="connsiteY9" fmla="*/ 914400 h 2406435"/>
              <a:gd name="connsiteX10" fmla="*/ 2696706 w 3183691"/>
              <a:gd name="connsiteY10" fmla="*/ 891153 h 2406435"/>
              <a:gd name="connsiteX11" fmla="*/ 2919252 w 3183691"/>
              <a:gd name="connsiteY11" fmla="*/ 1168669 h 2406435"/>
              <a:gd name="connsiteX12" fmla="*/ 3068665 w 3183691"/>
              <a:gd name="connsiteY12" fmla="*/ 1363851 h 2406435"/>
              <a:gd name="connsiteX13" fmla="*/ 3157377 w 3183691"/>
              <a:gd name="connsiteY13" fmla="*/ 1549669 h 2406435"/>
              <a:gd name="connsiteX14" fmla="*/ 3183691 w 3183691"/>
              <a:gd name="connsiteY14" fmla="*/ 1760349 h 2406435"/>
              <a:gd name="connsiteX15" fmla="*/ 3145591 w 3183691"/>
              <a:gd name="connsiteY15" fmla="*/ 2103653 h 2406435"/>
              <a:gd name="connsiteX16" fmla="*/ 3029355 w 3183691"/>
              <a:gd name="connsiteY16" fmla="*/ 2358164 h 2406435"/>
              <a:gd name="connsiteX17" fmla="*/ 2681207 w 3183691"/>
              <a:gd name="connsiteY17" fmla="*/ 2406435 h 2406435"/>
              <a:gd name="connsiteX18" fmla="*/ 2179288 w 3183691"/>
              <a:gd name="connsiteY18" fmla="*/ 2361150 h 2406435"/>
              <a:gd name="connsiteX19" fmla="*/ 1766807 w 3183691"/>
              <a:gd name="connsiteY19" fmla="*/ 2208508 h 2406435"/>
              <a:gd name="connsiteX20" fmla="*/ 1359008 w 3183691"/>
              <a:gd name="connsiteY20" fmla="*/ 2026726 h 2406435"/>
              <a:gd name="connsiteX21" fmla="*/ 1150991 w 3183691"/>
              <a:gd name="connsiteY21" fmla="*/ 1774556 h 2406435"/>
              <a:gd name="connsiteX22" fmla="*/ 1037741 w 3183691"/>
              <a:gd name="connsiteY22" fmla="*/ 1546844 h 2406435"/>
              <a:gd name="connsiteX23" fmla="*/ 1077133 w 3183691"/>
              <a:gd name="connsiteY23" fmla="*/ 1286359 h 2406435"/>
              <a:gd name="connsiteX24" fmla="*/ 1077133 w 3183691"/>
              <a:gd name="connsiteY24" fmla="*/ 945397 h 2406435"/>
              <a:gd name="connsiteX25" fmla="*/ 875655 w 3183691"/>
              <a:gd name="connsiteY25" fmla="*/ 736169 h 2406435"/>
              <a:gd name="connsiteX26" fmla="*/ 596685 w 3183691"/>
              <a:gd name="connsiteY26" fmla="*/ 480447 h 2406435"/>
              <a:gd name="connsiteX27" fmla="*/ 402956 w 3183691"/>
              <a:gd name="connsiteY27" fmla="*/ 325464 h 2406435"/>
              <a:gd name="connsiteX28" fmla="*/ 46495 w 3183691"/>
              <a:gd name="connsiteY28" fmla="*/ 85241 h 2406435"/>
              <a:gd name="connsiteX29" fmla="*/ 0 w 3183691"/>
              <a:gd name="connsiteY29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495587 w 3183691"/>
              <a:gd name="connsiteY7" fmla="*/ 984142 h 2406435"/>
              <a:gd name="connsiteX8" fmla="*/ 1743560 w 3183691"/>
              <a:gd name="connsiteY8" fmla="*/ 960895 h 2406435"/>
              <a:gd name="connsiteX9" fmla="*/ 2286000 w 3183691"/>
              <a:gd name="connsiteY9" fmla="*/ 914400 h 2406435"/>
              <a:gd name="connsiteX10" fmla="*/ 2696706 w 3183691"/>
              <a:gd name="connsiteY10" fmla="*/ 891153 h 2406435"/>
              <a:gd name="connsiteX11" fmla="*/ 2952590 w 3183691"/>
              <a:gd name="connsiteY11" fmla="*/ 1140094 h 2406435"/>
              <a:gd name="connsiteX12" fmla="*/ 3068665 w 3183691"/>
              <a:gd name="connsiteY12" fmla="*/ 1363851 h 2406435"/>
              <a:gd name="connsiteX13" fmla="*/ 3157377 w 3183691"/>
              <a:gd name="connsiteY13" fmla="*/ 1549669 h 2406435"/>
              <a:gd name="connsiteX14" fmla="*/ 3183691 w 3183691"/>
              <a:gd name="connsiteY14" fmla="*/ 1760349 h 2406435"/>
              <a:gd name="connsiteX15" fmla="*/ 3145591 w 3183691"/>
              <a:gd name="connsiteY15" fmla="*/ 2103653 h 2406435"/>
              <a:gd name="connsiteX16" fmla="*/ 3029355 w 3183691"/>
              <a:gd name="connsiteY16" fmla="*/ 2358164 h 2406435"/>
              <a:gd name="connsiteX17" fmla="*/ 2681207 w 3183691"/>
              <a:gd name="connsiteY17" fmla="*/ 2406435 h 2406435"/>
              <a:gd name="connsiteX18" fmla="*/ 2179288 w 3183691"/>
              <a:gd name="connsiteY18" fmla="*/ 2361150 h 2406435"/>
              <a:gd name="connsiteX19" fmla="*/ 1766807 w 3183691"/>
              <a:gd name="connsiteY19" fmla="*/ 2208508 h 2406435"/>
              <a:gd name="connsiteX20" fmla="*/ 1359008 w 3183691"/>
              <a:gd name="connsiteY20" fmla="*/ 2026726 h 2406435"/>
              <a:gd name="connsiteX21" fmla="*/ 1150991 w 3183691"/>
              <a:gd name="connsiteY21" fmla="*/ 1774556 h 2406435"/>
              <a:gd name="connsiteX22" fmla="*/ 1037741 w 3183691"/>
              <a:gd name="connsiteY22" fmla="*/ 1546844 h 2406435"/>
              <a:gd name="connsiteX23" fmla="*/ 1077133 w 3183691"/>
              <a:gd name="connsiteY23" fmla="*/ 1286359 h 2406435"/>
              <a:gd name="connsiteX24" fmla="*/ 1077133 w 3183691"/>
              <a:gd name="connsiteY24" fmla="*/ 945397 h 2406435"/>
              <a:gd name="connsiteX25" fmla="*/ 875655 w 3183691"/>
              <a:gd name="connsiteY25" fmla="*/ 736169 h 2406435"/>
              <a:gd name="connsiteX26" fmla="*/ 596685 w 3183691"/>
              <a:gd name="connsiteY26" fmla="*/ 480447 h 2406435"/>
              <a:gd name="connsiteX27" fmla="*/ 402956 w 3183691"/>
              <a:gd name="connsiteY27" fmla="*/ 325464 h 2406435"/>
              <a:gd name="connsiteX28" fmla="*/ 46495 w 3183691"/>
              <a:gd name="connsiteY28" fmla="*/ 85241 h 2406435"/>
              <a:gd name="connsiteX29" fmla="*/ 0 w 3183691"/>
              <a:gd name="connsiteY29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495587 w 3183691"/>
              <a:gd name="connsiteY7" fmla="*/ 984142 h 2406435"/>
              <a:gd name="connsiteX8" fmla="*/ 1743560 w 3183691"/>
              <a:gd name="connsiteY8" fmla="*/ 960895 h 2406435"/>
              <a:gd name="connsiteX9" fmla="*/ 2286000 w 3183691"/>
              <a:gd name="connsiteY9" fmla="*/ 914400 h 2406435"/>
              <a:gd name="connsiteX10" fmla="*/ 2696706 w 3183691"/>
              <a:gd name="connsiteY10" fmla="*/ 891153 h 2406435"/>
              <a:gd name="connsiteX11" fmla="*/ 2838289 w 3183691"/>
              <a:gd name="connsiteY11" fmla="*/ 1016269 h 2406435"/>
              <a:gd name="connsiteX12" fmla="*/ 2952590 w 3183691"/>
              <a:gd name="connsiteY12" fmla="*/ 1140094 h 2406435"/>
              <a:gd name="connsiteX13" fmla="*/ 3068665 w 3183691"/>
              <a:gd name="connsiteY13" fmla="*/ 1363851 h 2406435"/>
              <a:gd name="connsiteX14" fmla="*/ 3157377 w 3183691"/>
              <a:gd name="connsiteY14" fmla="*/ 1549669 h 2406435"/>
              <a:gd name="connsiteX15" fmla="*/ 3183691 w 3183691"/>
              <a:gd name="connsiteY15" fmla="*/ 1760349 h 2406435"/>
              <a:gd name="connsiteX16" fmla="*/ 3145591 w 3183691"/>
              <a:gd name="connsiteY16" fmla="*/ 2103653 h 2406435"/>
              <a:gd name="connsiteX17" fmla="*/ 3029355 w 3183691"/>
              <a:gd name="connsiteY17" fmla="*/ 2358164 h 2406435"/>
              <a:gd name="connsiteX18" fmla="*/ 2681207 w 3183691"/>
              <a:gd name="connsiteY18" fmla="*/ 2406435 h 2406435"/>
              <a:gd name="connsiteX19" fmla="*/ 2179288 w 3183691"/>
              <a:gd name="connsiteY19" fmla="*/ 2361150 h 2406435"/>
              <a:gd name="connsiteX20" fmla="*/ 1766807 w 3183691"/>
              <a:gd name="connsiteY20" fmla="*/ 2208508 h 2406435"/>
              <a:gd name="connsiteX21" fmla="*/ 1359008 w 3183691"/>
              <a:gd name="connsiteY21" fmla="*/ 2026726 h 2406435"/>
              <a:gd name="connsiteX22" fmla="*/ 1150991 w 3183691"/>
              <a:gd name="connsiteY22" fmla="*/ 1774556 h 2406435"/>
              <a:gd name="connsiteX23" fmla="*/ 1037741 w 3183691"/>
              <a:gd name="connsiteY23" fmla="*/ 1546844 h 2406435"/>
              <a:gd name="connsiteX24" fmla="*/ 1077133 w 3183691"/>
              <a:gd name="connsiteY24" fmla="*/ 1286359 h 2406435"/>
              <a:gd name="connsiteX25" fmla="*/ 1077133 w 3183691"/>
              <a:gd name="connsiteY25" fmla="*/ 945397 h 2406435"/>
              <a:gd name="connsiteX26" fmla="*/ 875655 w 3183691"/>
              <a:gd name="connsiteY26" fmla="*/ 736169 h 2406435"/>
              <a:gd name="connsiteX27" fmla="*/ 596685 w 3183691"/>
              <a:gd name="connsiteY27" fmla="*/ 480447 h 2406435"/>
              <a:gd name="connsiteX28" fmla="*/ 402956 w 3183691"/>
              <a:gd name="connsiteY28" fmla="*/ 325464 h 2406435"/>
              <a:gd name="connsiteX29" fmla="*/ 46495 w 3183691"/>
              <a:gd name="connsiteY29" fmla="*/ 85241 h 2406435"/>
              <a:gd name="connsiteX30" fmla="*/ 0 w 3183691"/>
              <a:gd name="connsiteY30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495587 w 3183691"/>
              <a:gd name="connsiteY7" fmla="*/ 984142 h 2406435"/>
              <a:gd name="connsiteX8" fmla="*/ 1743560 w 3183691"/>
              <a:gd name="connsiteY8" fmla="*/ 960895 h 2406435"/>
              <a:gd name="connsiteX9" fmla="*/ 2286000 w 3183691"/>
              <a:gd name="connsiteY9" fmla="*/ 914400 h 2406435"/>
              <a:gd name="connsiteX10" fmla="*/ 2696706 w 3183691"/>
              <a:gd name="connsiteY10" fmla="*/ 891153 h 2406435"/>
              <a:gd name="connsiteX11" fmla="*/ 2843052 w 3183691"/>
              <a:gd name="connsiteY11" fmla="*/ 1001981 h 2406435"/>
              <a:gd name="connsiteX12" fmla="*/ 2952590 w 3183691"/>
              <a:gd name="connsiteY12" fmla="*/ 1140094 h 2406435"/>
              <a:gd name="connsiteX13" fmla="*/ 3068665 w 3183691"/>
              <a:gd name="connsiteY13" fmla="*/ 1363851 h 2406435"/>
              <a:gd name="connsiteX14" fmla="*/ 3157377 w 3183691"/>
              <a:gd name="connsiteY14" fmla="*/ 1549669 h 2406435"/>
              <a:gd name="connsiteX15" fmla="*/ 3183691 w 3183691"/>
              <a:gd name="connsiteY15" fmla="*/ 1760349 h 2406435"/>
              <a:gd name="connsiteX16" fmla="*/ 3145591 w 3183691"/>
              <a:gd name="connsiteY16" fmla="*/ 2103653 h 2406435"/>
              <a:gd name="connsiteX17" fmla="*/ 3029355 w 3183691"/>
              <a:gd name="connsiteY17" fmla="*/ 2358164 h 2406435"/>
              <a:gd name="connsiteX18" fmla="*/ 2681207 w 3183691"/>
              <a:gd name="connsiteY18" fmla="*/ 2406435 h 2406435"/>
              <a:gd name="connsiteX19" fmla="*/ 2179288 w 3183691"/>
              <a:gd name="connsiteY19" fmla="*/ 2361150 h 2406435"/>
              <a:gd name="connsiteX20" fmla="*/ 1766807 w 3183691"/>
              <a:gd name="connsiteY20" fmla="*/ 2208508 h 2406435"/>
              <a:gd name="connsiteX21" fmla="*/ 1359008 w 3183691"/>
              <a:gd name="connsiteY21" fmla="*/ 2026726 h 2406435"/>
              <a:gd name="connsiteX22" fmla="*/ 1150991 w 3183691"/>
              <a:gd name="connsiteY22" fmla="*/ 1774556 h 2406435"/>
              <a:gd name="connsiteX23" fmla="*/ 1037741 w 3183691"/>
              <a:gd name="connsiteY23" fmla="*/ 1546844 h 2406435"/>
              <a:gd name="connsiteX24" fmla="*/ 1077133 w 3183691"/>
              <a:gd name="connsiteY24" fmla="*/ 1286359 h 2406435"/>
              <a:gd name="connsiteX25" fmla="*/ 1077133 w 3183691"/>
              <a:gd name="connsiteY25" fmla="*/ 945397 h 2406435"/>
              <a:gd name="connsiteX26" fmla="*/ 875655 w 3183691"/>
              <a:gd name="connsiteY26" fmla="*/ 736169 h 2406435"/>
              <a:gd name="connsiteX27" fmla="*/ 596685 w 3183691"/>
              <a:gd name="connsiteY27" fmla="*/ 480447 h 2406435"/>
              <a:gd name="connsiteX28" fmla="*/ 402956 w 3183691"/>
              <a:gd name="connsiteY28" fmla="*/ 325464 h 2406435"/>
              <a:gd name="connsiteX29" fmla="*/ 46495 w 3183691"/>
              <a:gd name="connsiteY29" fmla="*/ 85241 h 2406435"/>
              <a:gd name="connsiteX30" fmla="*/ 0 w 3183691"/>
              <a:gd name="connsiteY30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43560 w 3183691"/>
              <a:gd name="connsiteY8" fmla="*/ 960895 h 2406435"/>
              <a:gd name="connsiteX9" fmla="*/ 2286000 w 3183691"/>
              <a:gd name="connsiteY9" fmla="*/ 914400 h 2406435"/>
              <a:gd name="connsiteX10" fmla="*/ 2696706 w 3183691"/>
              <a:gd name="connsiteY10" fmla="*/ 891153 h 2406435"/>
              <a:gd name="connsiteX11" fmla="*/ 2843052 w 3183691"/>
              <a:gd name="connsiteY11" fmla="*/ 1001981 h 2406435"/>
              <a:gd name="connsiteX12" fmla="*/ 2952590 w 3183691"/>
              <a:gd name="connsiteY12" fmla="*/ 1140094 h 2406435"/>
              <a:gd name="connsiteX13" fmla="*/ 3068665 w 3183691"/>
              <a:gd name="connsiteY13" fmla="*/ 1363851 h 2406435"/>
              <a:gd name="connsiteX14" fmla="*/ 3157377 w 3183691"/>
              <a:gd name="connsiteY14" fmla="*/ 1549669 h 2406435"/>
              <a:gd name="connsiteX15" fmla="*/ 3183691 w 3183691"/>
              <a:gd name="connsiteY15" fmla="*/ 1760349 h 2406435"/>
              <a:gd name="connsiteX16" fmla="*/ 3145591 w 3183691"/>
              <a:gd name="connsiteY16" fmla="*/ 2103653 h 2406435"/>
              <a:gd name="connsiteX17" fmla="*/ 3029355 w 3183691"/>
              <a:gd name="connsiteY17" fmla="*/ 2358164 h 2406435"/>
              <a:gd name="connsiteX18" fmla="*/ 2681207 w 3183691"/>
              <a:gd name="connsiteY18" fmla="*/ 2406435 h 2406435"/>
              <a:gd name="connsiteX19" fmla="*/ 2179288 w 3183691"/>
              <a:gd name="connsiteY19" fmla="*/ 2361150 h 2406435"/>
              <a:gd name="connsiteX20" fmla="*/ 1766807 w 3183691"/>
              <a:gd name="connsiteY20" fmla="*/ 2208508 h 2406435"/>
              <a:gd name="connsiteX21" fmla="*/ 1359008 w 3183691"/>
              <a:gd name="connsiteY21" fmla="*/ 2026726 h 2406435"/>
              <a:gd name="connsiteX22" fmla="*/ 1150991 w 3183691"/>
              <a:gd name="connsiteY22" fmla="*/ 1774556 h 2406435"/>
              <a:gd name="connsiteX23" fmla="*/ 1037741 w 3183691"/>
              <a:gd name="connsiteY23" fmla="*/ 1546844 h 2406435"/>
              <a:gd name="connsiteX24" fmla="*/ 1077133 w 3183691"/>
              <a:gd name="connsiteY24" fmla="*/ 1286359 h 2406435"/>
              <a:gd name="connsiteX25" fmla="*/ 1077133 w 3183691"/>
              <a:gd name="connsiteY25" fmla="*/ 945397 h 2406435"/>
              <a:gd name="connsiteX26" fmla="*/ 875655 w 3183691"/>
              <a:gd name="connsiteY26" fmla="*/ 736169 h 2406435"/>
              <a:gd name="connsiteX27" fmla="*/ 596685 w 3183691"/>
              <a:gd name="connsiteY27" fmla="*/ 480447 h 2406435"/>
              <a:gd name="connsiteX28" fmla="*/ 402956 w 3183691"/>
              <a:gd name="connsiteY28" fmla="*/ 325464 h 2406435"/>
              <a:gd name="connsiteX29" fmla="*/ 46495 w 3183691"/>
              <a:gd name="connsiteY29" fmla="*/ 85241 h 2406435"/>
              <a:gd name="connsiteX30" fmla="*/ 0 w 3183691"/>
              <a:gd name="connsiteY30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286000 w 3183691"/>
              <a:gd name="connsiteY9" fmla="*/ 914400 h 2406435"/>
              <a:gd name="connsiteX10" fmla="*/ 2696706 w 3183691"/>
              <a:gd name="connsiteY10" fmla="*/ 891153 h 2406435"/>
              <a:gd name="connsiteX11" fmla="*/ 2843052 w 3183691"/>
              <a:gd name="connsiteY11" fmla="*/ 1001981 h 2406435"/>
              <a:gd name="connsiteX12" fmla="*/ 2952590 w 3183691"/>
              <a:gd name="connsiteY12" fmla="*/ 1140094 h 2406435"/>
              <a:gd name="connsiteX13" fmla="*/ 3068665 w 3183691"/>
              <a:gd name="connsiteY13" fmla="*/ 1363851 h 2406435"/>
              <a:gd name="connsiteX14" fmla="*/ 3157377 w 3183691"/>
              <a:gd name="connsiteY14" fmla="*/ 1549669 h 2406435"/>
              <a:gd name="connsiteX15" fmla="*/ 3183691 w 3183691"/>
              <a:gd name="connsiteY15" fmla="*/ 1760349 h 2406435"/>
              <a:gd name="connsiteX16" fmla="*/ 3145591 w 3183691"/>
              <a:gd name="connsiteY16" fmla="*/ 2103653 h 2406435"/>
              <a:gd name="connsiteX17" fmla="*/ 3029355 w 3183691"/>
              <a:gd name="connsiteY17" fmla="*/ 2358164 h 2406435"/>
              <a:gd name="connsiteX18" fmla="*/ 2681207 w 3183691"/>
              <a:gd name="connsiteY18" fmla="*/ 2406435 h 2406435"/>
              <a:gd name="connsiteX19" fmla="*/ 2179288 w 3183691"/>
              <a:gd name="connsiteY19" fmla="*/ 2361150 h 2406435"/>
              <a:gd name="connsiteX20" fmla="*/ 1766807 w 3183691"/>
              <a:gd name="connsiteY20" fmla="*/ 2208508 h 2406435"/>
              <a:gd name="connsiteX21" fmla="*/ 1359008 w 3183691"/>
              <a:gd name="connsiteY21" fmla="*/ 2026726 h 2406435"/>
              <a:gd name="connsiteX22" fmla="*/ 1150991 w 3183691"/>
              <a:gd name="connsiteY22" fmla="*/ 1774556 h 2406435"/>
              <a:gd name="connsiteX23" fmla="*/ 1037741 w 3183691"/>
              <a:gd name="connsiteY23" fmla="*/ 1546844 h 2406435"/>
              <a:gd name="connsiteX24" fmla="*/ 1077133 w 3183691"/>
              <a:gd name="connsiteY24" fmla="*/ 1286359 h 2406435"/>
              <a:gd name="connsiteX25" fmla="*/ 1077133 w 3183691"/>
              <a:gd name="connsiteY25" fmla="*/ 945397 h 2406435"/>
              <a:gd name="connsiteX26" fmla="*/ 875655 w 3183691"/>
              <a:gd name="connsiteY26" fmla="*/ 736169 h 2406435"/>
              <a:gd name="connsiteX27" fmla="*/ 596685 w 3183691"/>
              <a:gd name="connsiteY27" fmla="*/ 480447 h 2406435"/>
              <a:gd name="connsiteX28" fmla="*/ 402956 w 3183691"/>
              <a:gd name="connsiteY28" fmla="*/ 325464 h 2406435"/>
              <a:gd name="connsiteX29" fmla="*/ 46495 w 3183691"/>
              <a:gd name="connsiteY29" fmla="*/ 85241 h 2406435"/>
              <a:gd name="connsiteX30" fmla="*/ 0 w 3183691"/>
              <a:gd name="connsiteY30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19139 w 3183691"/>
              <a:gd name="connsiteY9" fmla="*/ 930544 h 2406435"/>
              <a:gd name="connsiteX10" fmla="*/ 2286000 w 3183691"/>
              <a:gd name="connsiteY10" fmla="*/ 914400 h 2406435"/>
              <a:gd name="connsiteX11" fmla="*/ 2696706 w 3183691"/>
              <a:gd name="connsiteY11" fmla="*/ 891153 h 2406435"/>
              <a:gd name="connsiteX12" fmla="*/ 2843052 w 3183691"/>
              <a:gd name="connsiteY12" fmla="*/ 1001981 h 2406435"/>
              <a:gd name="connsiteX13" fmla="*/ 2952590 w 3183691"/>
              <a:gd name="connsiteY13" fmla="*/ 1140094 h 2406435"/>
              <a:gd name="connsiteX14" fmla="*/ 3068665 w 3183691"/>
              <a:gd name="connsiteY14" fmla="*/ 1363851 h 2406435"/>
              <a:gd name="connsiteX15" fmla="*/ 3157377 w 3183691"/>
              <a:gd name="connsiteY15" fmla="*/ 1549669 h 2406435"/>
              <a:gd name="connsiteX16" fmla="*/ 3183691 w 3183691"/>
              <a:gd name="connsiteY16" fmla="*/ 1760349 h 2406435"/>
              <a:gd name="connsiteX17" fmla="*/ 3145591 w 3183691"/>
              <a:gd name="connsiteY17" fmla="*/ 2103653 h 2406435"/>
              <a:gd name="connsiteX18" fmla="*/ 3029355 w 3183691"/>
              <a:gd name="connsiteY18" fmla="*/ 2358164 h 2406435"/>
              <a:gd name="connsiteX19" fmla="*/ 2681207 w 3183691"/>
              <a:gd name="connsiteY19" fmla="*/ 2406435 h 2406435"/>
              <a:gd name="connsiteX20" fmla="*/ 2179288 w 3183691"/>
              <a:gd name="connsiteY20" fmla="*/ 2361150 h 2406435"/>
              <a:gd name="connsiteX21" fmla="*/ 1766807 w 3183691"/>
              <a:gd name="connsiteY21" fmla="*/ 2208508 h 2406435"/>
              <a:gd name="connsiteX22" fmla="*/ 1359008 w 3183691"/>
              <a:gd name="connsiteY22" fmla="*/ 2026726 h 2406435"/>
              <a:gd name="connsiteX23" fmla="*/ 1150991 w 3183691"/>
              <a:gd name="connsiteY23" fmla="*/ 1774556 h 2406435"/>
              <a:gd name="connsiteX24" fmla="*/ 1037741 w 3183691"/>
              <a:gd name="connsiteY24" fmla="*/ 1546844 h 2406435"/>
              <a:gd name="connsiteX25" fmla="*/ 1077133 w 3183691"/>
              <a:gd name="connsiteY25" fmla="*/ 1286359 h 2406435"/>
              <a:gd name="connsiteX26" fmla="*/ 1077133 w 3183691"/>
              <a:gd name="connsiteY26" fmla="*/ 945397 h 2406435"/>
              <a:gd name="connsiteX27" fmla="*/ 875655 w 3183691"/>
              <a:gd name="connsiteY27" fmla="*/ 736169 h 2406435"/>
              <a:gd name="connsiteX28" fmla="*/ 596685 w 3183691"/>
              <a:gd name="connsiteY28" fmla="*/ 480447 h 2406435"/>
              <a:gd name="connsiteX29" fmla="*/ 402956 w 3183691"/>
              <a:gd name="connsiteY29" fmla="*/ 325464 h 2406435"/>
              <a:gd name="connsiteX30" fmla="*/ 46495 w 3183691"/>
              <a:gd name="connsiteY30" fmla="*/ 85241 h 2406435"/>
              <a:gd name="connsiteX31" fmla="*/ 0 w 3183691"/>
              <a:gd name="connsiteY31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286000 w 3183691"/>
              <a:gd name="connsiteY10" fmla="*/ 914400 h 2406435"/>
              <a:gd name="connsiteX11" fmla="*/ 2696706 w 3183691"/>
              <a:gd name="connsiteY11" fmla="*/ 891153 h 2406435"/>
              <a:gd name="connsiteX12" fmla="*/ 2843052 w 3183691"/>
              <a:gd name="connsiteY12" fmla="*/ 1001981 h 2406435"/>
              <a:gd name="connsiteX13" fmla="*/ 2952590 w 3183691"/>
              <a:gd name="connsiteY13" fmla="*/ 1140094 h 2406435"/>
              <a:gd name="connsiteX14" fmla="*/ 3068665 w 3183691"/>
              <a:gd name="connsiteY14" fmla="*/ 1363851 h 2406435"/>
              <a:gd name="connsiteX15" fmla="*/ 3157377 w 3183691"/>
              <a:gd name="connsiteY15" fmla="*/ 1549669 h 2406435"/>
              <a:gd name="connsiteX16" fmla="*/ 3183691 w 3183691"/>
              <a:gd name="connsiteY16" fmla="*/ 1760349 h 2406435"/>
              <a:gd name="connsiteX17" fmla="*/ 3145591 w 3183691"/>
              <a:gd name="connsiteY17" fmla="*/ 2103653 h 2406435"/>
              <a:gd name="connsiteX18" fmla="*/ 3029355 w 3183691"/>
              <a:gd name="connsiteY18" fmla="*/ 2358164 h 2406435"/>
              <a:gd name="connsiteX19" fmla="*/ 2681207 w 3183691"/>
              <a:gd name="connsiteY19" fmla="*/ 2406435 h 2406435"/>
              <a:gd name="connsiteX20" fmla="*/ 2179288 w 3183691"/>
              <a:gd name="connsiteY20" fmla="*/ 2361150 h 2406435"/>
              <a:gd name="connsiteX21" fmla="*/ 1766807 w 3183691"/>
              <a:gd name="connsiteY21" fmla="*/ 2208508 h 2406435"/>
              <a:gd name="connsiteX22" fmla="*/ 1359008 w 3183691"/>
              <a:gd name="connsiteY22" fmla="*/ 2026726 h 2406435"/>
              <a:gd name="connsiteX23" fmla="*/ 1150991 w 3183691"/>
              <a:gd name="connsiteY23" fmla="*/ 1774556 h 2406435"/>
              <a:gd name="connsiteX24" fmla="*/ 1037741 w 3183691"/>
              <a:gd name="connsiteY24" fmla="*/ 1546844 h 2406435"/>
              <a:gd name="connsiteX25" fmla="*/ 1077133 w 3183691"/>
              <a:gd name="connsiteY25" fmla="*/ 1286359 h 2406435"/>
              <a:gd name="connsiteX26" fmla="*/ 1077133 w 3183691"/>
              <a:gd name="connsiteY26" fmla="*/ 945397 h 2406435"/>
              <a:gd name="connsiteX27" fmla="*/ 875655 w 3183691"/>
              <a:gd name="connsiteY27" fmla="*/ 736169 h 2406435"/>
              <a:gd name="connsiteX28" fmla="*/ 596685 w 3183691"/>
              <a:gd name="connsiteY28" fmla="*/ 480447 h 2406435"/>
              <a:gd name="connsiteX29" fmla="*/ 402956 w 3183691"/>
              <a:gd name="connsiteY29" fmla="*/ 325464 h 2406435"/>
              <a:gd name="connsiteX30" fmla="*/ 46495 w 3183691"/>
              <a:gd name="connsiteY30" fmla="*/ 85241 h 2406435"/>
              <a:gd name="connsiteX31" fmla="*/ 0 w 3183691"/>
              <a:gd name="connsiteY31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300287 w 3183691"/>
              <a:gd name="connsiteY10" fmla="*/ 828675 h 2406435"/>
              <a:gd name="connsiteX11" fmla="*/ 2696706 w 3183691"/>
              <a:gd name="connsiteY11" fmla="*/ 891153 h 2406435"/>
              <a:gd name="connsiteX12" fmla="*/ 2843052 w 3183691"/>
              <a:gd name="connsiteY12" fmla="*/ 1001981 h 2406435"/>
              <a:gd name="connsiteX13" fmla="*/ 2952590 w 3183691"/>
              <a:gd name="connsiteY13" fmla="*/ 1140094 h 2406435"/>
              <a:gd name="connsiteX14" fmla="*/ 3068665 w 3183691"/>
              <a:gd name="connsiteY14" fmla="*/ 1363851 h 2406435"/>
              <a:gd name="connsiteX15" fmla="*/ 3157377 w 3183691"/>
              <a:gd name="connsiteY15" fmla="*/ 1549669 h 2406435"/>
              <a:gd name="connsiteX16" fmla="*/ 3183691 w 3183691"/>
              <a:gd name="connsiteY16" fmla="*/ 1760349 h 2406435"/>
              <a:gd name="connsiteX17" fmla="*/ 3145591 w 3183691"/>
              <a:gd name="connsiteY17" fmla="*/ 2103653 h 2406435"/>
              <a:gd name="connsiteX18" fmla="*/ 3029355 w 3183691"/>
              <a:gd name="connsiteY18" fmla="*/ 2358164 h 2406435"/>
              <a:gd name="connsiteX19" fmla="*/ 2681207 w 3183691"/>
              <a:gd name="connsiteY19" fmla="*/ 2406435 h 2406435"/>
              <a:gd name="connsiteX20" fmla="*/ 2179288 w 3183691"/>
              <a:gd name="connsiteY20" fmla="*/ 2361150 h 2406435"/>
              <a:gd name="connsiteX21" fmla="*/ 1766807 w 3183691"/>
              <a:gd name="connsiteY21" fmla="*/ 2208508 h 2406435"/>
              <a:gd name="connsiteX22" fmla="*/ 1359008 w 3183691"/>
              <a:gd name="connsiteY22" fmla="*/ 2026726 h 2406435"/>
              <a:gd name="connsiteX23" fmla="*/ 1150991 w 3183691"/>
              <a:gd name="connsiteY23" fmla="*/ 1774556 h 2406435"/>
              <a:gd name="connsiteX24" fmla="*/ 1037741 w 3183691"/>
              <a:gd name="connsiteY24" fmla="*/ 1546844 h 2406435"/>
              <a:gd name="connsiteX25" fmla="*/ 1077133 w 3183691"/>
              <a:gd name="connsiteY25" fmla="*/ 1286359 h 2406435"/>
              <a:gd name="connsiteX26" fmla="*/ 1077133 w 3183691"/>
              <a:gd name="connsiteY26" fmla="*/ 945397 h 2406435"/>
              <a:gd name="connsiteX27" fmla="*/ 875655 w 3183691"/>
              <a:gd name="connsiteY27" fmla="*/ 736169 h 2406435"/>
              <a:gd name="connsiteX28" fmla="*/ 596685 w 3183691"/>
              <a:gd name="connsiteY28" fmla="*/ 480447 h 2406435"/>
              <a:gd name="connsiteX29" fmla="*/ 402956 w 3183691"/>
              <a:gd name="connsiteY29" fmla="*/ 325464 h 2406435"/>
              <a:gd name="connsiteX30" fmla="*/ 46495 w 3183691"/>
              <a:gd name="connsiteY30" fmla="*/ 85241 h 2406435"/>
              <a:gd name="connsiteX31" fmla="*/ 0 w 3183691"/>
              <a:gd name="connsiteY31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300287 w 3183691"/>
              <a:gd name="connsiteY10" fmla="*/ 828675 h 2406435"/>
              <a:gd name="connsiteX11" fmla="*/ 2504914 w 3183691"/>
              <a:gd name="connsiteY11" fmla="*/ 863869 h 2406435"/>
              <a:gd name="connsiteX12" fmla="*/ 2696706 w 3183691"/>
              <a:gd name="connsiteY12" fmla="*/ 891153 h 2406435"/>
              <a:gd name="connsiteX13" fmla="*/ 2843052 w 3183691"/>
              <a:gd name="connsiteY13" fmla="*/ 1001981 h 2406435"/>
              <a:gd name="connsiteX14" fmla="*/ 2952590 w 3183691"/>
              <a:gd name="connsiteY14" fmla="*/ 1140094 h 2406435"/>
              <a:gd name="connsiteX15" fmla="*/ 3068665 w 3183691"/>
              <a:gd name="connsiteY15" fmla="*/ 1363851 h 2406435"/>
              <a:gd name="connsiteX16" fmla="*/ 3157377 w 3183691"/>
              <a:gd name="connsiteY16" fmla="*/ 1549669 h 2406435"/>
              <a:gd name="connsiteX17" fmla="*/ 3183691 w 3183691"/>
              <a:gd name="connsiteY17" fmla="*/ 1760349 h 2406435"/>
              <a:gd name="connsiteX18" fmla="*/ 3145591 w 3183691"/>
              <a:gd name="connsiteY18" fmla="*/ 2103653 h 2406435"/>
              <a:gd name="connsiteX19" fmla="*/ 3029355 w 3183691"/>
              <a:gd name="connsiteY19" fmla="*/ 2358164 h 2406435"/>
              <a:gd name="connsiteX20" fmla="*/ 2681207 w 3183691"/>
              <a:gd name="connsiteY20" fmla="*/ 2406435 h 2406435"/>
              <a:gd name="connsiteX21" fmla="*/ 2179288 w 3183691"/>
              <a:gd name="connsiteY21" fmla="*/ 2361150 h 2406435"/>
              <a:gd name="connsiteX22" fmla="*/ 1766807 w 3183691"/>
              <a:gd name="connsiteY22" fmla="*/ 2208508 h 2406435"/>
              <a:gd name="connsiteX23" fmla="*/ 1359008 w 3183691"/>
              <a:gd name="connsiteY23" fmla="*/ 2026726 h 2406435"/>
              <a:gd name="connsiteX24" fmla="*/ 1150991 w 3183691"/>
              <a:gd name="connsiteY24" fmla="*/ 1774556 h 2406435"/>
              <a:gd name="connsiteX25" fmla="*/ 1037741 w 3183691"/>
              <a:gd name="connsiteY25" fmla="*/ 1546844 h 2406435"/>
              <a:gd name="connsiteX26" fmla="*/ 1077133 w 3183691"/>
              <a:gd name="connsiteY26" fmla="*/ 1286359 h 2406435"/>
              <a:gd name="connsiteX27" fmla="*/ 1077133 w 3183691"/>
              <a:gd name="connsiteY27" fmla="*/ 945397 h 2406435"/>
              <a:gd name="connsiteX28" fmla="*/ 875655 w 3183691"/>
              <a:gd name="connsiteY28" fmla="*/ 736169 h 2406435"/>
              <a:gd name="connsiteX29" fmla="*/ 596685 w 3183691"/>
              <a:gd name="connsiteY29" fmla="*/ 480447 h 2406435"/>
              <a:gd name="connsiteX30" fmla="*/ 402956 w 3183691"/>
              <a:gd name="connsiteY30" fmla="*/ 325464 h 2406435"/>
              <a:gd name="connsiteX31" fmla="*/ 46495 w 3183691"/>
              <a:gd name="connsiteY31" fmla="*/ 85241 h 2406435"/>
              <a:gd name="connsiteX32" fmla="*/ 0 w 3183691"/>
              <a:gd name="connsiteY32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300287 w 3183691"/>
              <a:gd name="connsiteY10" fmla="*/ 828675 h 2406435"/>
              <a:gd name="connsiteX11" fmla="*/ 2523964 w 3183691"/>
              <a:gd name="connsiteY11" fmla="*/ 825769 h 2406435"/>
              <a:gd name="connsiteX12" fmla="*/ 2696706 w 3183691"/>
              <a:gd name="connsiteY12" fmla="*/ 891153 h 2406435"/>
              <a:gd name="connsiteX13" fmla="*/ 2843052 w 3183691"/>
              <a:gd name="connsiteY13" fmla="*/ 1001981 h 2406435"/>
              <a:gd name="connsiteX14" fmla="*/ 2952590 w 3183691"/>
              <a:gd name="connsiteY14" fmla="*/ 1140094 h 2406435"/>
              <a:gd name="connsiteX15" fmla="*/ 3068665 w 3183691"/>
              <a:gd name="connsiteY15" fmla="*/ 1363851 h 2406435"/>
              <a:gd name="connsiteX16" fmla="*/ 3157377 w 3183691"/>
              <a:gd name="connsiteY16" fmla="*/ 1549669 h 2406435"/>
              <a:gd name="connsiteX17" fmla="*/ 3183691 w 3183691"/>
              <a:gd name="connsiteY17" fmla="*/ 1760349 h 2406435"/>
              <a:gd name="connsiteX18" fmla="*/ 3145591 w 3183691"/>
              <a:gd name="connsiteY18" fmla="*/ 2103653 h 2406435"/>
              <a:gd name="connsiteX19" fmla="*/ 3029355 w 3183691"/>
              <a:gd name="connsiteY19" fmla="*/ 2358164 h 2406435"/>
              <a:gd name="connsiteX20" fmla="*/ 2681207 w 3183691"/>
              <a:gd name="connsiteY20" fmla="*/ 2406435 h 2406435"/>
              <a:gd name="connsiteX21" fmla="*/ 2179288 w 3183691"/>
              <a:gd name="connsiteY21" fmla="*/ 2361150 h 2406435"/>
              <a:gd name="connsiteX22" fmla="*/ 1766807 w 3183691"/>
              <a:gd name="connsiteY22" fmla="*/ 2208508 h 2406435"/>
              <a:gd name="connsiteX23" fmla="*/ 1359008 w 3183691"/>
              <a:gd name="connsiteY23" fmla="*/ 2026726 h 2406435"/>
              <a:gd name="connsiteX24" fmla="*/ 1150991 w 3183691"/>
              <a:gd name="connsiteY24" fmla="*/ 1774556 h 2406435"/>
              <a:gd name="connsiteX25" fmla="*/ 1037741 w 3183691"/>
              <a:gd name="connsiteY25" fmla="*/ 1546844 h 2406435"/>
              <a:gd name="connsiteX26" fmla="*/ 1077133 w 3183691"/>
              <a:gd name="connsiteY26" fmla="*/ 1286359 h 2406435"/>
              <a:gd name="connsiteX27" fmla="*/ 1077133 w 3183691"/>
              <a:gd name="connsiteY27" fmla="*/ 945397 h 2406435"/>
              <a:gd name="connsiteX28" fmla="*/ 875655 w 3183691"/>
              <a:gd name="connsiteY28" fmla="*/ 736169 h 2406435"/>
              <a:gd name="connsiteX29" fmla="*/ 596685 w 3183691"/>
              <a:gd name="connsiteY29" fmla="*/ 480447 h 2406435"/>
              <a:gd name="connsiteX30" fmla="*/ 402956 w 3183691"/>
              <a:gd name="connsiteY30" fmla="*/ 325464 h 2406435"/>
              <a:gd name="connsiteX31" fmla="*/ 46495 w 3183691"/>
              <a:gd name="connsiteY31" fmla="*/ 85241 h 2406435"/>
              <a:gd name="connsiteX32" fmla="*/ 0 w 3183691"/>
              <a:gd name="connsiteY32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300287 w 3183691"/>
              <a:gd name="connsiteY10" fmla="*/ 828675 h 2406435"/>
              <a:gd name="connsiteX11" fmla="*/ 2523964 w 3183691"/>
              <a:gd name="connsiteY11" fmla="*/ 825769 h 2406435"/>
              <a:gd name="connsiteX12" fmla="*/ 2696706 w 3183691"/>
              <a:gd name="connsiteY12" fmla="*/ 891153 h 2406435"/>
              <a:gd name="connsiteX13" fmla="*/ 2843052 w 3183691"/>
              <a:gd name="connsiteY13" fmla="*/ 1001981 h 2406435"/>
              <a:gd name="connsiteX14" fmla="*/ 2952590 w 3183691"/>
              <a:gd name="connsiteY14" fmla="*/ 1140094 h 2406435"/>
              <a:gd name="connsiteX15" fmla="*/ 3068665 w 3183691"/>
              <a:gd name="connsiteY15" fmla="*/ 1363851 h 2406435"/>
              <a:gd name="connsiteX16" fmla="*/ 3157377 w 3183691"/>
              <a:gd name="connsiteY16" fmla="*/ 1549669 h 2406435"/>
              <a:gd name="connsiteX17" fmla="*/ 3183691 w 3183691"/>
              <a:gd name="connsiteY17" fmla="*/ 1760349 h 2406435"/>
              <a:gd name="connsiteX18" fmla="*/ 3145591 w 3183691"/>
              <a:gd name="connsiteY18" fmla="*/ 2103653 h 2406435"/>
              <a:gd name="connsiteX19" fmla="*/ 3029355 w 3183691"/>
              <a:gd name="connsiteY19" fmla="*/ 2358164 h 2406435"/>
              <a:gd name="connsiteX20" fmla="*/ 2681207 w 3183691"/>
              <a:gd name="connsiteY20" fmla="*/ 2406435 h 2406435"/>
              <a:gd name="connsiteX21" fmla="*/ 2179288 w 3183691"/>
              <a:gd name="connsiteY21" fmla="*/ 2361150 h 2406435"/>
              <a:gd name="connsiteX22" fmla="*/ 1766807 w 3183691"/>
              <a:gd name="connsiteY22" fmla="*/ 2208508 h 2406435"/>
              <a:gd name="connsiteX23" fmla="*/ 1571464 w 3183691"/>
              <a:gd name="connsiteY23" fmla="*/ 2111644 h 2406435"/>
              <a:gd name="connsiteX24" fmla="*/ 1359008 w 3183691"/>
              <a:gd name="connsiteY24" fmla="*/ 2026726 h 2406435"/>
              <a:gd name="connsiteX25" fmla="*/ 1150991 w 3183691"/>
              <a:gd name="connsiteY25" fmla="*/ 1774556 h 2406435"/>
              <a:gd name="connsiteX26" fmla="*/ 1037741 w 3183691"/>
              <a:gd name="connsiteY26" fmla="*/ 1546844 h 2406435"/>
              <a:gd name="connsiteX27" fmla="*/ 1077133 w 3183691"/>
              <a:gd name="connsiteY27" fmla="*/ 1286359 h 2406435"/>
              <a:gd name="connsiteX28" fmla="*/ 1077133 w 3183691"/>
              <a:gd name="connsiteY28" fmla="*/ 945397 h 2406435"/>
              <a:gd name="connsiteX29" fmla="*/ 875655 w 3183691"/>
              <a:gd name="connsiteY29" fmla="*/ 736169 h 2406435"/>
              <a:gd name="connsiteX30" fmla="*/ 596685 w 3183691"/>
              <a:gd name="connsiteY30" fmla="*/ 480447 h 2406435"/>
              <a:gd name="connsiteX31" fmla="*/ 402956 w 3183691"/>
              <a:gd name="connsiteY31" fmla="*/ 325464 h 2406435"/>
              <a:gd name="connsiteX32" fmla="*/ 46495 w 3183691"/>
              <a:gd name="connsiteY32" fmla="*/ 85241 h 2406435"/>
              <a:gd name="connsiteX33" fmla="*/ 0 w 3183691"/>
              <a:gd name="connsiteY33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300287 w 3183691"/>
              <a:gd name="connsiteY10" fmla="*/ 828675 h 2406435"/>
              <a:gd name="connsiteX11" fmla="*/ 2523964 w 3183691"/>
              <a:gd name="connsiteY11" fmla="*/ 825769 h 2406435"/>
              <a:gd name="connsiteX12" fmla="*/ 2696706 w 3183691"/>
              <a:gd name="connsiteY12" fmla="*/ 891153 h 2406435"/>
              <a:gd name="connsiteX13" fmla="*/ 2843052 w 3183691"/>
              <a:gd name="connsiteY13" fmla="*/ 1001981 h 2406435"/>
              <a:gd name="connsiteX14" fmla="*/ 2952590 w 3183691"/>
              <a:gd name="connsiteY14" fmla="*/ 1140094 h 2406435"/>
              <a:gd name="connsiteX15" fmla="*/ 3068665 w 3183691"/>
              <a:gd name="connsiteY15" fmla="*/ 1363851 h 2406435"/>
              <a:gd name="connsiteX16" fmla="*/ 3157377 w 3183691"/>
              <a:gd name="connsiteY16" fmla="*/ 1549669 h 2406435"/>
              <a:gd name="connsiteX17" fmla="*/ 3183691 w 3183691"/>
              <a:gd name="connsiteY17" fmla="*/ 1760349 h 2406435"/>
              <a:gd name="connsiteX18" fmla="*/ 3145591 w 3183691"/>
              <a:gd name="connsiteY18" fmla="*/ 2103653 h 2406435"/>
              <a:gd name="connsiteX19" fmla="*/ 3029355 w 3183691"/>
              <a:gd name="connsiteY19" fmla="*/ 2358164 h 2406435"/>
              <a:gd name="connsiteX20" fmla="*/ 2681207 w 3183691"/>
              <a:gd name="connsiteY20" fmla="*/ 2406435 h 2406435"/>
              <a:gd name="connsiteX21" fmla="*/ 2179288 w 3183691"/>
              <a:gd name="connsiteY21" fmla="*/ 2361150 h 2406435"/>
              <a:gd name="connsiteX22" fmla="*/ 1766807 w 3183691"/>
              <a:gd name="connsiteY22" fmla="*/ 2208508 h 2406435"/>
              <a:gd name="connsiteX23" fmla="*/ 1566701 w 3183691"/>
              <a:gd name="connsiteY23" fmla="*/ 2149744 h 2406435"/>
              <a:gd name="connsiteX24" fmla="*/ 1359008 w 3183691"/>
              <a:gd name="connsiteY24" fmla="*/ 2026726 h 2406435"/>
              <a:gd name="connsiteX25" fmla="*/ 1150991 w 3183691"/>
              <a:gd name="connsiteY25" fmla="*/ 1774556 h 2406435"/>
              <a:gd name="connsiteX26" fmla="*/ 1037741 w 3183691"/>
              <a:gd name="connsiteY26" fmla="*/ 1546844 h 2406435"/>
              <a:gd name="connsiteX27" fmla="*/ 1077133 w 3183691"/>
              <a:gd name="connsiteY27" fmla="*/ 1286359 h 2406435"/>
              <a:gd name="connsiteX28" fmla="*/ 1077133 w 3183691"/>
              <a:gd name="connsiteY28" fmla="*/ 945397 h 2406435"/>
              <a:gd name="connsiteX29" fmla="*/ 875655 w 3183691"/>
              <a:gd name="connsiteY29" fmla="*/ 736169 h 2406435"/>
              <a:gd name="connsiteX30" fmla="*/ 596685 w 3183691"/>
              <a:gd name="connsiteY30" fmla="*/ 480447 h 2406435"/>
              <a:gd name="connsiteX31" fmla="*/ 402956 w 3183691"/>
              <a:gd name="connsiteY31" fmla="*/ 325464 h 2406435"/>
              <a:gd name="connsiteX32" fmla="*/ 46495 w 3183691"/>
              <a:gd name="connsiteY32" fmla="*/ 85241 h 2406435"/>
              <a:gd name="connsiteX33" fmla="*/ 0 w 3183691"/>
              <a:gd name="connsiteY33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300287 w 3183691"/>
              <a:gd name="connsiteY10" fmla="*/ 828675 h 2406435"/>
              <a:gd name="connsiteX11" fmla="*/ 2523964 w 3183691"/>
              <a:gd name="connsiteY11" fmla="*/ 825769 h 2406435"/>
              <a:gd name="connsiteX12" fmla="*/ 2696706 w 3183691"/>
              <a:gd name="connsiteY12" fmla="*/ 891153 h 2406435"/>
              <a:gd name="connsiteX13" fmla="*/ 2843052 w 3183691"/>
              <a:gd name="connsiteY13" fmla="*/ 1001981 h 2406435"/>
              <a:gd name="connsiteX14" fmla="*/ 2952590 w 3183691"/>
              <a:gd name="connsiteY14" fmla="*/ 1140094 h 2406435"/>
              <a:gd name="connsiteX15" fmla="*/ 3068665 w 3183691"/>
              <a:gd name="connsiteY15" fmla="*/ 1363851 h 2406435"/>
              <a:gd name="connsiteX16" fmla="*/ 3157377 w 3183691"/>
              <a:gd name="connsiteY16" fmla="*/ 1549669 h 2406435"/>
              <a:gd name="connsiteX17" fmla="*/ 3183691 w 3183691"/>
              <a:gd name="connsiteY17" fmla="*/ 1760349 h 2406435"/>
              <a:gd name="connsiteX18" fmla="*/ 3145591 w 3183691"/>
              <a:gd name="connsiteY18" fmla="*/ 2103653 h 2406435"/>
              <a:gd name="connsiteX19" fmla="*/ 3029355 w 3183691"/>
              <a:gd name="connsiteY19" fmla="*/ 2358164 h 2406435"/>
              <a:gd name="connsiteX20" fmla="*/ 2681207 w 3183691"/>
              <a:gd name="connsiteY20" fmla="*/ 2406435 h 2406435"/>
              <a:gd name="connsiteX21" fmla="*/ 2179288 w 3183691"/>
              <a:gd name="connsiteY21" fmla="*/ 2361150 h 2406435"/>
              <a:gd name="connsiteX22" fmla="*/ 1766807 w 3183691"/>
              <a:gd name="connsiteY22" fmla="*/ 2208508 h 2406435"/>
              <a:gd name="connsiteX23" fmla="*/ 1566701 w 3183691"/>
              <a:gd name="connsiteY23" fmla="*/ 2149744 h 2406435"/>
              <a:gd name="connsiteX24" fmla="*/ 1359008 w 3183691"/>
              <a:gd name="connsiteY24" fmla="*/ 2026726 h 2406435"/>
              <a:gd name="connsiteX25" fmla="*/ 1238089 w 3183691"/>
              <a:gd name="connsiteY25" fmla="*/ 1883044 h 2406435"/>
              <a:gd name="connsiteX26" fmla="*/ 1150991 w 3183691"/>
              <a:gd name="connsiteY26" fmla="*/ 1774556 h 2406435"/>
              <a:gd name="connsiteX27" fmla="*/ 1037741 w 3183691"/>
              <a:gd name="connsiteY27" fmla="*/ 1546844 h 2406435"/>
              <a:gd name="connsiteX28" fmla="*/ 1077133 w 3183691"/>
              <a:gd name="connsiteY28" fmla="*/ 1286359 h 2406435"/>
              <a:gd name="connsiteX29" fmla="*/ 1077133 w 3183691"/>
              <a:gd name="connsiteY29" fmla="*/ 945397 h 2406435"/>
              <a:gd name="connsiteX30" fmla="*/ 875655 w 3183691"/>
              <a:gd name="connsiteY30" fmla="*/ 736169 h 2406435"/>
              <a:gd name="connsiteX31" fmla="*/ 596685 w 3183691"/>
              <a:gd name="connsiteY31" fmla="*/ 480447 h 2406435"/>
              <a:gd name="connsiteX32" fmla="*/ 402956 w 3183691"/>
              <a:gd name="connsiteY32" fmla="*/ 325464 h 2406435"/>
              <a:gd name="connsiteX33" fmla="*/ 46495 w 3183691"/>
              <a:gd name="connsiteY33" fmla="*/ 85241 h 2406435"/>
              <a:gd name="connsiteX34" fmla="*/ 0 w 3183691"/>
              <a:gd name="connsiteY34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300287 w 3183691"/>
              <a:gd name="connsiteY10" fmla="*/ 828675 h 2406435"/>
              <a:gd name="connsiteX11" fmla="*/ 2523964 w 3183691"/>
              <a:gd name="connsiteY11" fmla="*/ 825769 h 2406435"/>
              <a:gd name="connsiteX12" fmla="*/ 2696706 w 3183691"/>
              <a:gd name="connsiteY12" fmla="*/ 891153 h 2406435"/>
              <a:gd name="connsiteX13" fmla="*/ 2843052 w 3183691"/>
              <a:gd name="connsiteY13" fmla="*/ 1001981 h 2406435"/>
              <a:gd name="connsiteX14" fmla="*/ 2952590 w 3183691"/>
              <a:gd name="connsiteY14" fmla="*/ 1140094 h 2406435"/>
              <a:gd name="connsiteX15" fmla="*/ 3068665 w 3183691"/>
              <a:gd name="connsiteY15" fmla="*/ 1363851 h 2406435"/>
              <a:gd name="connsiteX16" fmla="*/ 3157377 w 3183691"/>
              <a:gd name="connsiteY16" fmla="*/ 1549669 h 2406435"/>
              <a:gd name="connsiteX17" fmla="*/ 3183691 w 3183691"/>
              <a:gd name="connsiteY17" fmla="*/ 1760349 h 2406435"/>
              <a:gd name="connsiteX18" fmla="*/ 3145591 w 3183691"/>
              <a:gd name="connsiteY18" fmla="*/ 2103653 h 2406435"/>
              <a:gd name="connsiteX19" fmla="*/ 3029355 w 3183691"/>
              <a:gd name="connsiteY19" fmla="*/ 2358164 h 2406435"/>
              <a:gd name="connsiteX20" fmla="*/ 2681207 w 3183691"/>
              <a:gd name="connsiteY20" fmla="*/ 2406435 h 2406435"/>
              <a:gd name="connsiteX21" fmla="*/ 2179288 w 3183691"/>
              <a:gd name="connsiteY21" fmla="*/ 2361150 h 2406435"/>
              <a:gd name="connsiteX22" fmla="*/ 1766807 w 3183691"/>
              <a:gd name="connsiteY22" fmla="*/ 2208508 h 2406435"/>
              <a:gd name="connsiteX23" fmla="*/ 1566701 w 3183691"/>
              <a:gd name="connsiteY23" fmla="*/ 2149744 h 2406435"/>
              <a:gd name="connsiteX24" fmla="*/ 1359008 w 3183691"/>
              <a:gd name="connsiteY24" fmla="*/ 2026726 h 2406435"/>
              <a:gd name="connsiteX25" fmla="*/ 1238089 w 3183691"/>
              <a:gd name="connsiteY25" fmla="*/ 1906857 h 2406435"/>
              <a:gd name="connsiteX26" fmla="*/ 1150991 w 3183691"/>
              <a:gd name="connsiteY26" fmla="*/ 1774556 h 2406435"/>
              <a:gd name="connsiteX27" fmla="*/ 1037741 w 3183691"/>
              <a:gd name="connsiteY27" fmla="*/ 1546844 h 2406435"/>
              <a:gd name="connsiteX28" fmla="*/ 1077133 w 3183691"/>
              <a:gd name="connsiteY28" fmla="*/ 1286359 h 2406435"/>
              <a:gd name="connsiteX29" fmla="*/ 1077133 w 3183691"/>
              <a:gd name="connsiteY29" fmla="*/ 945397 h 2406435"/>
              <a:gd name="connsiteX30" fmla="*/ 875655 w 3183691"/>
              <a:gd name="connsiteY30" fmla="*/ 736169 h 2406435"/>
              <a:gd name="connsiteX31" fmla="*/ 596685 w 3183691"/>
              <a:gd name="connsiteY31" fmla="*/ 480447 h 2406435"/>
              <a:gd name="connsiteX32" fmla="*/ 402956 w 3183691"/>
              <a:gd name="connsiteY32" fmla="*/ 325464 h 2406435"/>
              <a:gd name="connsiteX33" fmla="*/ 46495 w 3183691"/>
              <a:gd name="connsiteY33" fmla="*/ 85241 h 2406435"/>
              <a:gd name="connsiteX34" fmla="*/ 0 w 3183691"/>
              <a:gd name="connsiteY34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300287 w 3183691"/>
              <a:gd name="connsiteY10" fmla="*/ 828675 h 2406435"/>
              <a:gd name="connsiteX11" fmla="*/ 2523964 w 3183691"/>
              <a:gd name="connsiteY11" fmla="*/ 825769 h 2406435"/>
              <a:gd name="connsiteX12" fmla="*/ 2696706 w 3183691"/>
              <a:gd name="connsiteY12" fmla="*/ 891153 h 2406435"/>
              <a:gd name="connsiteX13" fmla="*/ 2843052 w 3183691"/>
              <a:gd name="connsiteY13" fmla="*/ 1001981 h 2406435"/>
              <a:gd name="connsiteX14" fmla="*/ 2952590 w 3183691"/>
              <a:gd name="connsiteY14" fmla="*/ 1140094 h 2406435"/>
              <a:gd name="connsiteX15" fmla="*/ 3068665 w 3183691"/>
              <a:gd name="connsiteY15" fmla="*/ 1363851 h 2406435"/>
              <a:gd name="connsiteX16" fmla="*/ 3157377 w 3183691"/>
              <a:gd name="connsiteY16" fmla="*/ 1549669 h 2406435"/>
              <a:gd name="connsiteX17" fmla="*/ 3183691 w 3183691"/>
              <a:gd name="connsiteY17" fmla="*/ 1760349 h 2406435"/>
              <a:gd name="connsiteX18" fmla="*/ 3145591 w 3183691"/>
              <a:gd name="connsiteY18" fmla="*/ 2103653 h 2406435"/>
              <a:gd name="connsiteX19" fmla="*/ 3029355 w 3183691"/>
              <a:gd name="connsiteY19" fmla="*/ 2358164 h 2406435"/>
              <a:gd name="connsiteX20" fmla="*/ 2681207 w 3183691"/>
              <a:gd name="connsiteY20" fmla="*/ 2406435 h 2406435"/>
              <a:gd name="connsiteX21" fmla="*/ 2179288 w 3183691"/>
              <a:gd name="connsiteY21" fmla="*/ 2361150 h 2406435"/>
              <a:gd name="connsiteX22" fmla="*/ 1771570 w 3183691"/>
              <a:gd name="connsiteY22" fmla="*/ 2246608 h 2406435"/>
              <a:gd name="connsiteX23" fmla="*/ 1566701 w 3183691"/>
              <a:gd name="connsiteY23" fmla="*/ 2149744 h 2406435"/>
              <a:gd name="connsiteX24" fmla="*/ 1359008 w 3183691"/>
              <a:gd name="connsiteY24" fmla="*/ 2026726 h 2406435"/>
              <a:gd name="connsiteX25" fmla="*/ 1238089 w 3183691"/>
              <a:gd name="connsiteY25" fmla="*/ 1906857 h 2406435"/>
              <a:gd name="connsiteX26" fmla="*/ 1150991 w 3183691"/>
              <a:gd name="connsiteY26" fmla="*/ 1774556 h 2406435"/>
              <a:gd name="connsiteX27" fmla="*/ 1037741 w 3183691"/>
              <a:gd name="connsiteY27" fmla="*/ 1546844 h 2406435"/>
              <a:gd name="connsiteX28" fmla="*/ 1077133 w 3183691"/>
              <a:gd name="connsiteY28" fmla="*/ 1286359 h 2406435"/>
              <a:gd name="connsiteX29" fmla="*/ 1077133 w 3183691"/>
              <a:gd name="connsiteY29" fmla="*/ 945397 h 2406435"/>
              <a:gd name="connsiteX30" fmla="*/ 875655 w 3183691"/>
              <a:gd name="connsiteY30" fmla="*/ 736169 h 2406435"/>
              <a:gd name="connsiteX31" fmla="*/ 596685 w 3183691"/>
              <a:gd name="connsiteY31" fmla="*/ 480447 h 2406435"/>
              <a:gd name="connsiteX32" fmla="*/ 402956 w 3183691"/>
              <a:gd name="connsiteY32" fmla="*/ 325464 h 2406435"/>
              <a:gd name="connsiteX33" fmla="*/ 46495 w 3183691"/>
              <a:gd name="connsiteY33" fmla="*/ 85241 h 2406435"/>
              <a:gd name="connsiteX34" fmla="*/ 0 w 3183691"/>
              <a:gd name="connsiteY34" fmla="*/ 0 h 2406435"/>
              <a:gd name="connsiteX0" fmla="*/ 0 w 3183691"/>
              <a:gd name="connsiteY0" fmla="*/ 0 h 2406435"/>
              <a:gd name="connsiteX1" fmla="*/ 247973 w 3183691"/>
              <a:gd name="connsiteY1" fmla="*/ 123986 h 2406435"/>
              <a:gd name="connsiteX2" fmla="*/ 480448 w 3183691"/>
              <a:gd name="connsiteY2" fmla="*/ 325464 h 2406435"/>
              <a:gd name="connsiteX3" fmla="*/ 705174 w 3183691"/>
              <a:gd name="connsiteY3" fmla="*/ 519194 h 2406435"/>
              <a:gd name="connsiteX4" fmla="*/ 821411 w 3183691"/>
              <a:gd name="connsiteY4" fmla="*/ 619932 h 2406435"/>
              <a:gd name="connsiteX5" fmla="*/ 1007390 w 3183691"/>
              <a:gd name="connsiteY5" fmla="*/ 813661 h 2406435"/>
              <a:gd name="connsiteX6" fmla="*/ 1170122 w 3183691"/>
              <a:gd name="connsiteY6" fmla="*/ 906651 h 2406435"/>
              <a:gd name="connsiteX7" fmla="*/ 1528925 w 3183691"/>
              <a:gd name="connsiteY7" fmla="*/ 965092 h 2406435"/>
              <a:gd name="connsiteX8" fmla="*/ 1776897 w 3183691"/>
              <a:gd name="connsiteY8" fmla="*/ 941845 h 2406435"/>
              <a:gd name="connsiteX9" fmla="*/ 2033426 w 3183691"/>
              <a:gd name="connsiteY9" fmla="*/ 878157 h 2406435"/>
              <a:gd name="connsiteX10" fmla="*/ 2300287 w 3183691"/>
              <a:gd name="connsiteY10" fmla="*/ 828675 h 2406435"/>
              <a:gd name="connsiteX11" fmla="*/ 2523964 w 3183691"/>
              <a:gd name="connsiteY11" fmla="*/ 825769 h 2406435"/>
              <a:gd name="connsiteX12" fmla="*/ 2696706 w 3183691"/>
              <a:gd name="connsiteY12" fmla="*/ 891153 h 2406435"/>
              <a:gd name="connsiteX13" fmla="*/ 2843052 w 3183691"/>
              <a:gd name="connsiteY13" fmla="*/ 1001981 h 2406435"/>
              <a:gd name="connsiteX14" fmla="*/ 2952590 w 3183691"/>
              <a:gd name="connsiteY14" fmla="*/ 1140094 h 2406435"/>
              <a:gd name="connsiteX15" fmla="*/ 3068665 w 3183691"/>
              <a:gd name="connsiteY15" fmla="*/ 1363851 h 2406435"/>
              <a:gd name="connsiteX16" fmla="*/ 3157377 w 3183691"/>
              <a:gd name="connsiteY16" fmla="*/ 1549669 h 2406435"/>
              <a:gd name="connsiteX17" fmla="*/ 3183691 w 3183691"/>
              <a:gd name="connsiteY17" fmla="*/ 1760349 h 2406435"/>
              <a:gd name="connsiteX18" fmla="*/ 3145591 w 3183691"/>
              <a:gd name="connsiteY18" fmla="*/ 2103653 h 2406435"/>
              <a:gd name="connsiteX19" fmla="*/ 3029355 w 3183691"/>
              <a:gd name="connsiteY19" fmla="*/ 2358164 h 2406435"/>
              <a:gd name="connsiteX20" fmla="*/ 2681207 w 3183691"/>
              <a:gd name="connsiteY20" fmla="*/ 2406435 h 2406435"/>
              <a:gd name="connsiteX21" fmla="*/ 2428714 w 3183691"/>
              <a:gd name="connsiteY21" fmla="*/ 2383107 h 2406435"/>
              <a:gd name="connsiteX22" fmla="*/ 2179288 w 3183691"/>
              <a:gd name="connsiteY22" fmla="*/ 2361150 h 2406435"/>
              <a:gd name="connsiteX23" fmla="*/ 1771570 w 3183691"/>
              <a:gd name="connsiteY23" fmla="*/ 2246608 h 2406435"/>
              <a:gd name="connsiteX24" fmla="*/ 1566701 w 3183691"/>
              <a:gd name="connsiteY24" fmla="*/ 2149744 h 2406435"/>
              <a:gd name="connsiteX25" fmla="*/ 1359008 w 3183691"/>
              <a:gd name="connsiteY25" fmla="*/ 2026726 h 2406435"/>
              <a:gd name="connsiteX26" fmla="*/ 1238089 w 3183691"/>
              <a:gd name="connsiteY26" fmla="*/ 1906857 h 2406435"/>
              <a:gd name="connsiteX27" fmla="*/ 1150991 w 3183691"/>
              <a:gd name="connsiteY27" fmla="*/ 1774556 h 2406435"/>
              <a:gd name="connsiteX28" fmla="*/ 1037741 w 3183691"/>
              <a:gd name="connsiteY28" fmla="*/ 1546844 h 2406435"/>
              <a:gd name="connsiteX29" fmla="*/ 1077133 w 3183691"/>
              <a:gd name="connsiteY29" fmla="*/ 1286359 h 2406435"/>
              <a:gd name="connsiteX30" fmla="*/ 1077133 w 3183691"/>
              <a:gd name="connsiteY30" fmla="*/ 945397 h 2406435"/>
              <a:gd name="connsiteX31" fmla="*/ 875655 w 3183691"/>
              <a:gd name="connsiteY31" fmla="*/ 736169 h 2406435"/>
              <a:gd name="connsiteX32" fmla="*/ 596685 w 3183691"/>
              <a:gd name="connsiteY32" fmla="*/ 480447 h 2406435"/>
              <a:gd name="connsiteX33" fmla="*/ 402956 w 3183691"/>
              <a:gd name="connsiteY33" fmla="*/ 325464 h 2406435"/>
              <a:gd name="connsiteX34" fmla="*/ 46495 w 3183691"/>
              <a:gd name="connsiteY34" fmla="*/ 85241 h 2406435"/>
              <a:gd name="connsiteX35" fmla="*/ 0 w 3183691"/>
              <a:gd name="connsiteY35" fmla="*/ 0 h 2406435"/>
              <a:gd name="connsiteX0" fmla="*/ 0 w 3183691"/>
              <a:gd name="connsiteY0" fmla="*/ 0 h 2416445"/>
              <a:gd name="connsiteX1" fmla="*/ 247973 w 3183691"/>
              <a:gd name="connsiteY1" fmla="*/ 123986 h 2416445"/>
              <a:gd name="connsiteX2" fmla="*/ 480448 w 3183691"/>
              <a:gd name="connsiteY2" fmla="*/ 325464 h 2416445"/>
              <a:gd name="connsiteX3" fmla="*/ 705174 w 3183691"/>
              <a:gd name="connsiteY3" fmla="*/ 519194 h 2416445"/>
              <a:gd name="connsiteX4" fmla="*/ 821411 w 3183691"/>
              <a:gd name="connsiteY4" fmla="*/ 619932 h 2416445"/>
              <a:gd name="connsiteX5" fmla="*/ 1007390 w 3183691"/>
              <a:gd name="connsiteY5" fmla="*/ 813661 h 2416445"/>
              <a:gd name="connsiteX6" fmla="*/ 1170122 w 3183691"/>
              <a:gd name="connsiteY6" fmla="*/ 906651 h 2416445"/>
              <a:gd name="connsiteX7" fmla="*/ 1528925 w 3183691"/>
              <a:gd name="connsiteY7" fmla="*/ 965092 h 2416445"/>
              <a:gd name="connsiteX8" fmla="*/ 1776897 w 3183691"/>
              <a:gd name="connsiteY8" fmla="*/ 941845 h 2416445"/>
              <a:gd name="connsiteX9" fmla="*/ 2033426 w 3183691"/>
              <a:gd name="connsiteY9" fmla="*/ 878157 h 2416445"/>
              <a:gd name="connsiteX10" fmla="*/ 2300287 w 3183691"/>
              <a:gd name="connsiteY10" fmla="*/ 828675 h 2416445"/>
              <a:gd name="connsiteX11" fmla="*/ 2523964 w 3183691"/>
              <a:gd name="connsiteY11" fmla="*/ 825769 h 2416445"/>
              <a:gd name="connsiteX12" fmla="*/ 2696706 w 3183691"/>
              <a:gd name="connsiteY12" fmla="*/ 891153 h 2416445"/>
              <a:gd name="connsiteX13" fmla="*/ 2843052 w 3183691"/>
              <a:gd name="connsiteY13" fmla="*/ 1001981 h 2416445"/>
              <a:gd name="connsiteX14" fmla="*/ 2952590 w 3183691"/>
              <a:gd name="connsiteY14" fmla="*/ 1140094 h 2416445"/>
              <a:gd name="connsiteX15" fmla="*/ 3068665 w 3183691"/>
              <a:gd name="connsiteY15" fmla="*/ 1363851 h 2416445"/>
              <a:gd name="connsiteX16" fmla="*/ 3157377 w 3183691"/>
              <a:gd name="connsiteY16" fmla="*/ 1549669 h 2416445"/>
              <a:gd name="connsiteX17" fmla="*/ 3183691 w 3183691"/>
              <a:gd name="connsiteY17" fmla="*/ 1760349 h 2416445"/>
              <a:gd name="connsiteX18" fmla="*/ 3145591 w 3183691"/>
              <a:gd name="connsiteY18" fmla="*/ 2103653 h 2416445"/>
              <a:gd name="connsiteX19" fmla="*/ 3029355 w 3183691"/>
              <a:gd name="connsiteY19" fmla="*/ 2358164 h 2416445"/>
              <a:gd name="connsiteX20" fmla="*/ 2681207 w 3183691"/>
              <a:gd name="connsiteY20" fmla="*/ 2406435 h 2416445"/>
              <a:gd name="connsiteX21" fmla="*/ 2428714 w 3183691"/>
              <a:gd name="connsiteY21" fmla="*/ 2416445 h 2416445"/>
              <a:gd name="connsiteX22" fmla="*/ 2179288 w 3183691"/>
              <a:gd name="connsiteY22" fmla="*/ 2361150 h 2416445"/>
              <a:gd name="connsiteX23" fmla="*/ 1771570 w 3183691"/>
              <a:gd name="connsiteY23" fmla="*/ 2246608 h 2416445"/>
              <a:gd name="connsiteX24" fmla="*/ 1566701 w 3183691"/>
              <a:gd name="connsiteY24" fmla="*/ 2149744 h 2416445"/>
              <a:gd name="connsiteX25" fmla="*/ 1359008 w 3183691"/>
              <a:gd name="connsiteY25" fmla="*/ 2026726 h 2416445"/>
              <a:gd name="connsiteX26" fmla="*/ 1238089 w 3183691"/>
              <a:gd name="connsiteY26" fmla="*/ 1906857 h 2416445"/>
              <a:gd name="connsiteX27" fmla="*/ 1150991 w 3183691"/>
              <a:gd name="connsiteY27" fmla="*/ 1774556 h 2416445"/>
              <a:gd name="connsiteX28" fmla="*/ 1037741 w 3183691"/>
              <a:gd name="connsiteY28" fmla="*/ 1546844 h 2416445"/>
              <a:gd name="connsiteX29" fmla="*/ 1077133 w 3183691"/>
              <a:gd name="connsiteY29" fmla="*/ 1286359 h 2416445"/>
              <a:gd name="connsiteX30" fmla="*/ 1077133 w 3183691"/>
              <a:gd name="connsiteY30" fmla="*/ 945397 h 2416445"/>
              <a:gd name="connsiteX31" fmla="*/ 875655 w 3183691"/>
              <a:gd name="connsiteY31" fmla="*/ 736169 h 2416445"/>
              <a:gd name="connsiteX32" fmla="*/ 596685 w 3183691"/>
              <a:gd name="connsiteY32" fmla="*/ 480447 h 2416445"/>
              <a:gd name="connsiteX33" fmla="*/ 402956 w 3183691"/>
              <a:gd name="connsiteY33" fmla="*/ 325464 h 2416445"/>
              <a:gd name="connsiteX34" fmla="*/ 46495 w 3183691"/>
              <a:gd name="connsiteY34" fmla="*/ 85241 h 2416445"/>
              <a:gd name="connsiteX35" fmla="*/ 0 w 3183691"/>
              <a:gd name="connsiteY35" fmla="*/ 0 h 2416445"/>
              <a:gd name="connsiteX0" fmla="*/ 0 w 3183691"/>
              <a:gd name="connsiteY0" fmla="*/ 0 h 2416445"/>
              <a:gd name="connsiteX1" fmla="*/ 247973 w 3183691"/>
              <a:gd name="connsiteY1" fmla="*/ 123986 h 2416445"/>
              <a:gd name="connsiteX2" fmla="*/ 480448 w 3183691"/>
              <a:gd name="connsiteY2" fmla="*/ 325464 h 2416445"/>
              <a:gd name="connsiteX3" fmla="*/ 705174 w 3183691"/>
              <a:gd name="connsiteY3" fmla="*/ 519194 h 2416445"/>
              <a:gd name="connsiteX4" fmla="*/ 821411 w 3183691"/>
              <a:gd name="connsiteY4" fmla="*/ 619932 h 2416445"/>
              <a:gd name="connsiteX5" fmla="*/ 1007390 w 3183691"/>
              <a:gd name="connsiteY5" fmla="*/ 813661 h 2416445"/>
              <a:gd name="connsiteX6" fmla="*/ 1170122 w 3183691"/>
              <a:gd name="connsiteY6" fmla="*/ 906651 h 2416445"/>
              <a:gd name="connsiteX7" fmla="*/ 1528925 w 3183691"/>
              <a:gd name="connsiteY7" fmla="*/ 965092 h 2416445"/>
              <a:gd name="connsiteX8" fmla="*/ 1776897 w 3183691"/>
              <a:gd name="connsiteY8" fmla="*/ 941845 h 2416445"/>
              <a:gd name="connsiteX9" fmla="*/ 2033426 w 3183691"/>
              <a:gd name="connsiteY9" fmla="*/ 878157 h 2416445"/>
              <a:gd name="connsiteX10" fmla="*/ 2300287 w 3183691"/>
              <a:gd name="connsiteY10" fmla="*/ 828675 h 2416445"/>
              <a:gd name="connsiteX11" fmla="*/ 2523964 w 3183691"/>
              <a:gd name="connsiteY11" fmla="*/ 825769 h 2416445"/>
              <a:gd name="connsiteX12" fmla="*/ 2696706 w 3183691"/>
              <a:gd name="connsiteY12" fmla="*/ 891153 h 2416445"/>
              <a:gd name="connsiteX13" fmla="*/ 2843052 w 3183691"/>
              <a:gd name="connsiteY13" fmla="*/ 1001981 h 2416445"/>
              <a:gd name="connsiteX14" fmla="*/ 2952590 w 3183691"/>
              <a:gd name="connsiteY14" fmla="*/ 1140094 h 2416445"/>
              <a:gd name="connsiteX15" fmla="*/ 3068665 w 3183691"/>
              <a:gd name="connsiteY15" fmla="*/ 1363851 h 2416445"/>
              <a:gd name="connsiteX16" fmla="*/ 3157377 w 3183691"/>
              <a:gd name="connsiteY16" fmla="*/ 1549669 h 2416445"/>
              <a:gd name="connsiteX17" fmla="*/ 3183691 w 3183691"/>
              <a:gd name="connsiteY17" fmla="*/ 1760349 h 2416445"/>
              <a:gd name="connsiteX18" fmla="*/ 3145591 w 3183691"/>
              <a:gd name="connsiteY18" fmla="*/ 2103653 h 2416445"/>
              <a:gd name="connsiteX19" fmla="*/ 3029355 w 3183691"/>
              <a:gd name="connsiteY19" fmla="*/ 2358164 h 2416445"/>
              <a:gd name="connsiteX20" fmla="*/ 2828764 w 3183691"/>
              <a:gd name="connsiteY20" fmla="*/ 2378344 h 2416445"/>
              <a:gd name="connsiteX21" fmla="*/ 2681207 w 3183691"/>
              <a:gd name="connsiteY21" fmla="*/ 2406435 h 2416445"/>
              <a:gd name="connsiteX22" fmla="*/ 2428714 w 3183691"/>
              <a:gd name="connsiteY22" fmla="*/ 2416445 h 2416445"/>
              <a:gd name="connsiteX23" fmla="*/ 2179288 w 3183691"/>
              <a:gd name="connsiteY23" fmla="*/ 2361150 h 2416445"/>
              <a:gd name="connsiteX24" fmla="*/ 1771570 w 3183691"/>
              <a:gd name="connsiteY24" fmla="*/ 2246608 h 2416445"/>
              <a:gd name="connsiteX25" fmla="*/ 1566701 w 3183691"/>
              <a:gd name="connsiteY25" fmla="*/ 2149744 h 2416445"/>
              <a:gd name="connsiteX26" fmla="*/ 1359008 w 3183691"/>
              <a:gd name="connsiteY26" fmla="*/ 2026726 h 2416445"/>
              <a:gd name="connsiteX27" fmla="*/ 1238089 w 3183691"/>
              <a:gd name="connsiteY27" fmla="*/ 1906857 h 2416445"/>
              <a:gd name="connsiteX28" fmla="*/ 1150991 w 3183691"/>
              <a:gd name="connsiteY28" fmla="*/ 1774556 h 2416445"/>
              <a:gd name="connsiteX29" fmla="*/ 1037741 w 3183691"/>
              <a:gd name="connsiteY29" fmla="*/ 1546844 h 2416445"/>
              <a:gd name="connsiteX30" fmla="*/ 1077133 w 3183691"/>
              <a:gd name="connsiteY30" fmla="*/ 1286359 h 2416445"/>
              <a:gd name="connsiteX31" fmla="*/ 1077133 w 3183691"/>
              <a:gd name="connsiteY31" fmla="*/ 945397 h 2416445"/>
              <a:gd name="connsiteX32" fmla="*/ 875655 w 3183691"/>
              <a:gd name="connsiteY32" fmla="*/ 736169 h 2416445"/>
              <a:gd name="connsiteX33" fmla="*/ 596685 w 3183691"/>
              <a:gd name="connsiteY33" fmla="*/ 480447 h 2416445"/>
              <a:gd name="connsiteX34" fmla="*/ 402956 w 3183691"/>
              <a:gd name="connsiteY34" fmla="*/ 325464 h 2416445"/>
              <a:gd name="connsiteX35" fmla="*/ 46495 w 3183691"/>
              <a:gd name="connsiteY35" fmla="*/ 85241 h 2416445"/>
              <a:gd name="connsiteX36" fmla="*/ 0 w 3183691"/>
              <a:gd name="connsiteY36" fmla="*/ 0 h 2416445"/>
              <a:gd name="connsiteX0" fmla="*/ 0 w 3183691"/>
              <a:gd name="connsiteY0" fmla="*/ 0 h 2416445"/>
              <a:gd name="connsiteX1" fmla="*/ 247973 w 3183691"/>
              <a:gd name="connsiteY1" fmla="*/ 123986 h 2416445"/>
              <a:gd name="connsiteX2" fmla="*/ 480448 w 3183691"/>
              <a:gd name="connsiteY2" fmla="*/ 325464 h 2416445"/>
              <a:gd name="connsiteX3" fmla="*/ 705174 w 3183691"/>
              <a:gd name="connsiteY3" fmla="*/ 519194 h 2416445"/>
              <a:gd name="connsiteX4" fmla="*/ 821411 w 3183691"/>
              <a:gd name="connsiteY4" fmla="*/ 619932 h 2416445"/>
              <a:gd name="connsiteX5" fmla="*/ 1007390 w 3183691"/>
              <a:gd name="connsiteY5" fmla="*/ 813661 h 2416445"/>
              <a:gd name="connsiteX6" fmla="*/ 1170122 w 3183691"/>
              <a:gd name="connsiteY6" fmla="*/ 906651 h 2416445"/>
              <a:gd name="connsiteX7" fmla="*/ 1528925 w 3183691"/>
              <a:gd name="connsiteY7" fmla="*/ 965092 h 2416445"/>
              <a:gd name="connsiteX8" fmla="*/ 1776897 w 3183691"/>
              <a:gd name="connsiteY8" fmla="*/ 941845 h 2416445"/>
              <a:gd name="connsiteX9" fmla="*/ 2033426 w 3183691"/>
              <a:gd name="connsiteY9" fmla="*/ 878157 h 2416445"/>
              <a:gd name="connsiteX10" fmla="*/ 2300287 w 3183691"/>
              <a:gd name="connsiteY10" fmla="*/ 828675 h 2416445"/>
              <a:gd name="connsiteX11" fmla="*/ 2523964 w 3183691"/>
              <a:gd name="connsiteY11" fmla="*/ 825769 h 2416445"/>
              <a:gd name="connsiteX12" fmla="*/ 2696706 w 3183691"/>
              <a:gd name="connsiteY12" fmla="*/ 891153 h 2416445"/>
              <a:gd name="connsiteX13" fmla="*/ 2843052 w 3183691"/>
              <a:gd name="connsiteY13" fmla="*/ 1001981 h 2416445"/>
              <a:gd name="connsiteX14" fmla="*/ 2952590 w 3183691"/>
              <a:gd name="connsiteY14" fmla="*/ 1140094 h 2416445"/>
              <a:gd name="connsiteX15" fmla="*/ 3068665 w 3183691"/>
              <a:gd name="connsiteY15" fmla="*/ 1363851 h 2416445"/>
              <a:gd name="connsiteX16" fmla="*/ 3157377 w 3183691"/>
              <a:gd name="connsiteY16" fmla="*/ 1549669 h 2416445"/>
              <a:gd name="connsiteX17" fmla="*/ 3183691 w 3183691"/>
              <a:gd name="connsiteY17" fmla="*/ 1760349 h 2416445"/>
              <a:gd name="connsiteX18" fmla="*/ 3145591 w 3183691"/>
              <a:gd name="connsiteY18" fmla="*/ 2103653 h 2416445"/>
              <a:gd name="connsiteX19" fmla="*/ 3029355 w 3183691"/>
              <a:gd name="connsiteY19" fmla="*/ 2358164 h 2416445"/>
              <a:gd name="connsiteX20" fmla="*/ 2847814 w 3183691"/>
              <a:gd name="connsiteY20" fmla="*/ 2416444 h 2416445"/>
              <a:gd name="connsiteX21" fmla="*/ 2681207 w 3183691"/>
              <a:gd name="connsiteY21" fmla="*/ 2406435 h 2416445"/>
              <a:gd name="connsiteX22" fmla="*/ 2428714 w 3183691"/>
              <a:gd name="connsiteY22" fmla="*/ 2416445 h 2416445"/>
              <a:gd name="connsiteX23" fmla="*/ 2179288 w 3183691"/>
              <a:gd name="connsiteY23" fmla="*/ 2361150 h 2416445"/>
              <a:gd name="connsiteX24" fmla="*/ 1771570 w 3183691"/>
              <a:gd name="connsiteY24" fmla="*/ 2246608 h 2416445"/>
              <a:gd name="connsiteX25" fmla="*/ 1566701 w 3183691"/>
              <a:gd name="connsiteY25" fmla="*/ 2149744 h 2416445"/>
              <a:gd name="connsiteX26" fmla="*/ 1359008 w 3183691"/>
              <a:gd name="connsiteY26" fmla="*/ 2026726 h 2416445"/>
              <a:gd name="connsiteX27" fmla="*/ 1238089 w 3183691"/>
              <a:gd name="connsiteY27" fmla="*/ 1906857 h 2416445"/>
              <a:gd name="connsiteX28" fmla="*/ 1150991 w 3183691"/>
              <a:gd name="connsiteY28" fmla="*/ 1774556 h 2416445"/>
              <a:gd name="connsiteX29" fmla="*/ 1037741 w 3183691"/>
              <a:gd name="connsiteY29" fmla="*/ 1546844 h 2416445"/>
              <a:gd name="connsiteX30" fmla="*/ 1077133 w 3183691"/>
              <a:gd name="connsiteY30" fmla="*/ 1286359 h 2416445"/>
              <a:gd name="connsiteX31" fmla="*/ 1077133 w 3183691"/>
              <a:gd name="connsiteY31" fmla="*/ 945397 h 2416445"/>
              <a:gd name="connsiteX32" fmla="*/ 875655 w 3183691"/>
              <a:gd name="connsiteY32" fmla="*/ 736169 h 2416445"/>
              <a:gd name="connsiteX33" fmla="*/ 596685 w 3183691"/>
              <a:gd name="connsiteY33" fmla="*/ 480447 h 2416445"/>
              <a:gd name="connsiteX34" fmla="*/ 402956 w 3183691"/>
              <a:gd name="connsiteY34" fmla="*/ 325464 h 2416445"/>
              <a:gd name="connsiteX35" fmla="*/ 46495 w 3183691"/>
              <a:gd name="connsiteY35" fmla="*/ 85241 h 2416445"/>
              <a:gd name="connsiteX36" fmla="*/ 0 w 3183691"/>
              <a:gd name="connsiteY36" fmla="*/ 0 h 2416445"/>
              <a:gd name="connsiteX0" fmla="*/ 0 w 3183691"/>
              <a:gd name="connsiteY0" fmla="*/ 0 h 2416445"/>
              <a:gd name="connsiteX1" fmla="*/ 247973 w 3183691"/>
              <a:gd name="connsiteY1" fmla="*/ 123986 h 2416445"/>
              <a:gd name="connsiteX2" fmla="*/ 480448 w 3183691"/>
              <a:gd name="connsiteY2" fmla="*/ 325464 h 2416445"/>
              <a:gd name="connsiteX3" fmla="*/ 705174 w 3183691"/>
              <a:gd name="connsiteY3" fmla="*/ 519194 h 2416445"/>
              <a:gd name="connsiteX4" fmla="*/ 821411 w 3183691"/>
              <a:gd name="connsiteY4" fmla="*/ 619932 h 2416445"/>
              <a:gd name="connsiteX5" fmla="*/ 1007390 w 3183691"/>
              <a:gd name="connsiteY5" fmla="*/ 813661 h 2416445"/>
              <a:gd name="connsiteX6" fmla="*/ 1170122 w 3183691"/>
              <a:gd name="connsiteY6" fmla="*/ 906651 h 2416445"/>
              <a:gd name="connsiteX7" fmla="*/ 1528925 w 3183691"/>
              <a:gd name="connsiteY7" fmla="*/ 965092 h 2416445"/>
              <a:gd name="connsiteX8" fmla="*/ 1776897 w 3183691"/>
              <a:gd name="connsiteY8" fmla="*/ 941845 h 2416445"/>
              <a:gd name="connsiteX9" fmla="*/ 2033426 w 3183691"/>
              <a:gd name="connsiteY9" fmla="*/ 878157 h 2416445"/>
              <a:gd name="connsiteX10" fmla="*/ 2300287 w 3183691"/>
              <a:gd name="connsiteY10" fmla="*/ 828675 h 2416445"/>
              <a:gd name="connsiteX11" fmla="*/ 2523964 w 3183691"/>
              <a:gd name="connsiteY11" fmla="*/ 825769 h 2416445"/>
              <a:gd name="connsiteX12" fmla="*/ 2696706 w 3183691"/>
              <a:gd name="connsiteY12" fmla="*/ 891153 h 2416445"/>
              <a:gd name="connsiteX13" fmla="*/ 2843052 w 3183691"/>
              <a:gd name="connsiteY13" fmla="*/ 1001981 h 2416445"/>
              <a:gd name="connsiteX14" fmla="*/ 2952590 w 3183691"/>
              <a:gd name="connsiteY14" fmla="*/ 1140094 h 2416445"/>
              <a:gd name="connsiteX15" fmla="*/ 3068665 w 3183691"/>
              <a:gd name="connsiteY15" fmla="*/ 1363851 h 2416445"/>
              <a:gd name="connsiteX16" fmla="*/ 3157377 w 3183691"/>
              <a:gd name="connsiteY16" fmla="*/ 1549669 h 2416445"/>
              <a:gd name="connsiteX17" fmla="*/ 3183691 w 3183691"/>
              <a:gd name="connsiteY17" fmla="*/ 1760349 h 2416445"/>
              <a:gd name="connsiteX18" fmla="*/ 3145591 w 3183691"/>
              <a:gd name="connsiteY18" fmla="*/ 2103653 h 2416445"/>
              <a:gd name="connsiteX19" fmla="*/ 3029355 w 3183691"/>
              <a:gd name="connsiteY19" fmla="*/ 2358164 h 2416445"/>
              <a:gd name="connsiteX20" fmla="*/ 2847814 w 3183691"/>
              <a:gd name="connsiteY20" fmla="*/ 2416444 h 2416445"/>
              <a:gd name="connsiteX21" fmla="*/ 2681207 w 3183691"/>
              <a:gd name="connsiteY21" fmla="*/ 2406435 h 2416445"/>
              <a:gd name="connsiteX22" fmla="*/ 2428714 w 3183691"/>
              <a:gd name="connsiteY22" fmla="*/ 2416445 h 2416445"/>
              <a:gd name="connsiteX23" fmla="*/ 2179288 w 3183691"/>
              <a:gd name="connsiteY23" fmla="*/ 2361150 h 2416445"/>
              <a:gd name="connsiteX24" fmla="*/ 1771570 w 3183691"/>
              <a:gd name="connsiteY24" fmla="*/ 2246608 h 2416445"/>
              <a:gd name="connsiteX25" fmla="*/ 1566701 w 3183691"/>
              <a:gd name="connsiteY25" fmla="*/ 2149744 h 2416445"/>
              <a:gd name="connsiteX26" fmla="*/ 1359008 w 3183691"/>
              <a:gd name="connsiteY26" fmla="*/ 2026726 h 2416445"/>
              <a:gd name="connsiteX27" fmla="*/ 1238089 w 3183691"/>
              <a:gd name="connsiteY27" fmla="*/ 1906857 h 2416445"/>
              <a:gd name="connsiteX28" fmla="*/ 1150991 w 3183691"/>
              <a:gd name="connsiteY28" fmla="*/ 1774556 h 2416445"/>
              <a:gd name="connsiteX29" fmla="*/ 1071079 w 3183691"/>
              <a:gd name="connsiteY29" fmla="*/ 1537319 h 2416445"/>
              <a:gd name="connsiteX30" fmla="*/ 1077133 w 3183691"/>
              <a:gd name="connsiteY30" fmla="*/ 1286359 h 2416445"/>
              <a:gd name="connsiteX31" fmla="*/ 1077133 w 3183691"/>
              <a:gd name="connsiteY31" fmla="*/ 945397 h 2416445"/>
              <a:gd name="connsiteX32" fmla="*/ 875655 w 3183691"/>
              <a:gd name="connsiteY32" fmla="*/ 736169 h 2416445"/>
              <a:gd name="connsiteX33" fmla="*/ 596685 w 3183691"/>
              <a:gd name="connsiteY33" fmla="*/ 480447 h 2416445"/>
              <a:gd name="connsiteX34" fmla="*/ 402956 w 3183691"/>
              <a:gd name="connsiteY34" fmla="*/ 325464 h 2416445"/>
              <a:gd name="connsiteX35" fmla="*/ 46495 w 3183691"/>
              <a:gd name="connsiteY35" fmla="*/ 85241 h 2416445"/>
              <a:gd name="connsiteX36" fmla="*/ 0 w 3183691"/>
              <a:gd name="connsiteY36" fmla="*/ 0 h 2416445"/>
              <a:gd name="connsiteX0" fmla="*/ 0 w 3183691"/>
              <a:gd name="connsiteY0" fmla="*/ 0 h 2425485"/>
              <a:gd name="connsiteX1" fmla="*/ 247973 w 3183691"/>
              <a:gd name="connsiteY1" fmla="*/ 123986 h 2425485"/>
              <a:gd name="connsiteX2" fmla="*/ 480448 w 3183691"/>
              <a:gd name="connsiteY2" fmla="*/ 325464 h 2425485"/>
              <a:gd name="connsiteX3" fmla="*/ 705174 w 3183691"/>
              <a:gd name="connsiteY3" fmla="*/ 519194 h 2425485"/>
              <a:gd name="connsiteX4" fmla="*/ 821411 w 3183691"/>
              <a:gd name="connsiteY4" fmla="*/ 619932 h 2425485"/>
              <a:gd name="connsiteX5" fmla="*/ 1007390 w 3183691"/>
              <a:gd name="connsiteY5" fmla="*/ 813661 h 2425485"/>
              <a:gd name="connsiteX6" fmla="*/ 1170122 w 3183691"/>
              <a:gd name="connsiteY6" fmla="*/ 906651 h 2425485"/>
              <a:gd name="connsiteX7" fmla="*/ 1528925 w 3183691"/>
              <a:gd name="connsiteY7" fmla="*/ 965092 h 2425485"/>
              <a:gd name="connsiteX8" fmla="*/ 1776897 w 3183691"/>
              <a:gd name="connsiteY8" fmla="*/ 941845 h 2425485"/>
              <a:gd name="connsiteX9" fmla="*/ 2033426 w 3183691"/>
              <a:gd name="connsiteY9" fmla="*/ 878157 h 2425485"/>
              <a:gd name="connsiteX10" fmla="*/ 2300287 w 3183691"/>
              <a:gd name="connsiteY10" fmla="*/ 828675 h 2425485"/>
              <a:gd name="connsiteX11" fmla="*/ 2523964 w 3183691"/>
              <a:gd name="connsiteY11" fmla="*/ 825769 h 2425485"/>
              <a:gd name="connsiteX12" fmla="*/ 2696706 w 3183691"/>
              <a:gd name="connsiteY12" fmla="*/ 891153 h 2425485"/>
              <a:gd name="connsiteX13" fmla="*/ 2843052 w 3183691"/>
              <a:gd name="connsiteY13" fmla="*/ 1001981 h 2425485"/>
              <a:gd name="connsiteX14" fmla="*/ 2952590 w 3183691"/>
              <a:gd name="connsiteY14" fmla="*/ 1140094 h 2425485"/>
              <a:gd name="connsiteX15" fmla="*/ 3068665 w 3183691"/>
              <a:gd name="connsiteY15" fmla="*/ 1363851 h 2425485"/>
              <a:gd name="connsiteX16" fmla="*/ 3157377 w 3183691"/>
              <a:gd name="connsiteY16" fmla="*/ 1549669 h 2425485"/>
              <a:gd name="connsiteX17" fmla="*/ 3183691 w 3183691"/>
              <a:gd name="connsiteY17" fmla="*/ 1760349 h 2425485"/>
              <a:gd name="connsiteX18" fmla="*/ 3145591 w 3183691"/>
              <a:gd name="connsiteY18" fmla="*/ 2103653 h 2425485"/>
              <a:gd name="connsiteX19" fmla="*/ 3029355 w 3183691"/>
              <a:gd name="connsiteY19" fmla="*/ 2358164 h 2425485"/>
              <a:gd name="connsiteX20" fmla="*/ 2847814 w 3183691"/>
              <a:gd name="connsiteY20" fmla="*/ 2416444 h 2425485"/>
              <a:gd name="connsiteX21" fmla="*/ 2681207 w 3183691"/>
              <a:gd name="connsiteY21" fmla="*/ 2425485 h 2425485"/>
              <a:gd name="connsiteX22" fmla="*/ 2428714 w 3183691"/>
              <a:gd name="connsiteY22" fmla="*/ 2416445 h 2425485"/>
              <a:gd name="connsiteX23" fmla="*/ 2179288 w 3183691"/>
              <a:gd name="connsiteY23" fmla="*/ 2361150 h 2425485"/>
              <a:gd name="connsiteX24" fmla="*/ 1771570 w 3183691"/>
              <a:gd name="connsiteY24" fmla="*/ 2246608 h 2425485"/>
              <a:gd name="connsiteX25" fmla="*/ 1566701 w 3183691"/>
              <a:gd name="connsiteY25" fmla="*/ 2149744 h 2425485"/>
              <a:gd name="connsiteX26" fmla="*/ 1359008 w 3183691"/>
              <a:gd name="connsiteY26" fmla="*/ 2026726 h 2425485"/>
              <a:gd name="connsiteX27" fmla="*/ 1238089 w 3183691"/>
              <a:gd name="connsiteY27" fmla="*/ 1906857 h 2425485"/>
              <a:gd name="connsiteX28" fmla="*/ 1150991 w 3183691"/>
              <a:gd name="connsiteY28" fmla="*/ 1774556 h 2425485"/>
              <a:gd name="connsiteX29" fmla="*/ 1071079 w 3183691"/>
              <a:gd name="connsiteY29" fmla="*/ 1537319 h 2425485"/>
              <a:gd name="connsiteX30" fmla="*/ 1077133 w 3183691"/>
              <a:gd name="connsiteY30" fmla="*/ 1286359 h 2425485"/>
              <a:gd name="connsiteX31" fmla="*/ 1077133 w 3183691"/>
              <a:gd name="connsiteY31" fmla="*/ 945397 h 2425485"/>
              <a:gd name="connsiteX32" fmla="*/ 875655 w 3183691"/>
              <a:gd name="connsiteY32" fmla="*/ 736169 h 2425485"/>
              <a:gd name="connsiteX33" fmla="*/ 596685 w 3183691"/>
              <a:gd name="connsiteY33" fmla="*/ 480447 h 2425485"/>
              <a:gd name="connsiteX34" fmla="*/ 402956 w 3183691"/>
              <a:gd name="connsiteY34" fmla="*/ 325464 h 2425485"/>
              <a:gd name="connsiteX35" fmla="*/ 46495 w 3183691"/>
              <a:gd name="connsiteY35" fmla="*/ 85241 h 2425485"/>
              <a:gd name="connsiteX36" fmla="*/ 0 w 3183691"/>
              <a:gd name="connsiteY36" fmla="*/ 0 h 2425485"/>
              <a:gd name="connsiteX0" fmla="*/ 0 w 3183691"/>
              <a:gd name="connsiteY0" fmla="*/ 0 h 2425485"/>
              <a:gd name="connsiteX1" fmla="*/ 247973 w 3183691"/>
              <a:gd name="connsiteY1" fmla="*/ 123986 h 2425485"/>
              <a:gd name="connsiteX2" fmla="*/ 480448 w 3183691"/>
              <a:gd name="connsiteY2" fmla="*/ 325464 h 2425485"/>
              <a:gd name="connsiteX3" fmla="*/ 705174 w 3183691"/>
              <a:gd name="connsiteY3" fmla="*/ 519194 h 2425485"/>
              <a:gd name="connsiteX4" fmla="*/ 821411 w 3183691"/>
              <a:gd name="connsiteY4" fmla="*/ 619932 h 2425485"/>
              <a:gd name="connsiteX5" fmla="*/ 1007390 w 3183691"/>
              <a:gd name="connsiteY5" fmla="*/ 813661 h 2425485"/>
              <a:gd name="connsiteX6" fmla="*/ 1170122 w 3183691"/>
              <a:gd name="connsiteY6" fmla="*/ 906651 h 2425485"/>
              <a:gd name="connsiteX7" fmla="*/ 1528925 w 3183691"/>
              <a:gd name="connsiteY7" fmla="*/ 965092 h 2425485"/>
              <a:gd name="connsiteX8" fmla="*/ 1776897 w 3183691"/>
              <a:gd name="connsiteY8" fmla="*/ 941845 h 2425485"/>
              <a:gd name="connsiteX9" fmla="*/ 2033426 w 3183691"/>
              <a:gd name="connsiteY9" fmla="*/ 878157 h 2425485"/>
              <a:gd name="connsiteX10" fmla="*/ 2300287 w 3183691"/>
              <a:gd name="connsiteY10" fmla="*/ 828675 h 2425485"/>
              <a:gd name="connsiteX11" fmla="*/ 2523964 w 3183691"/>
              <a:gd name="connsiteY11" fmla="*/ 825769 h 2425485"/>
              <a:gd name="connsiteX12" fmla="*/ 2696706 w 3183691"/>
              <a:gd name="connsiteY12" fmla="*/ 891153 h 2425485"/>
              <a:gd name="connsiteX13" fmla="*/ 2843052 w 3183691"/>
              <a:gd name="connsiteY13" fmla="*/ 1001981 h 2425485"/>
              <a:gd name="connsiteX14" fmla="*/ 2952590 w 3183691"/>
              <a:gd name="connsiteY14" fmla="*/ 1140094 h 2425485"/>
              <a:gd name="connsiteX15" fmla="*/ 3068665 w 3183691"/>
              <a:gd name="connsiteY15" fmla="*/ 1363851 h 2425485"/>
              <a:gd name="connsiteX16" fmla="*/ 3157377 w 3183691"/>
              <a:gd name="connsiteY16" fmla="*/ 1549669 h 2425485"/>
              <a:gd name="connsiteX17" fmla="*/ 3183691 w 3183691"/>
              <a:gd name="connsiteY17" fmla="*/ 1760349 h 2425485"/>
              <a:gd name="connsiteX18" fmla="*/ 3145591 w 3183691"/>
              <a:gd name="connsiteY18" fmla="*/ 2103653 h 2425485"/>
              <a:gd name="connsiteX19" fmla="*/ 3029355 w 3183691"/>
              <a:gd name="connsiteY19" fmla="*/ 2329589 h 2425485"/>
              <a:gd name="connsiteX20" fmla="*/ 2847814 w 3183691"/>
              <a:gd name="connsiteY20" fmla="*/ 2416444 h 2425485"/>
              <a:gd name="connsiteX21" fmla="*/ 2681207 w 3183691"/>
              <a:gd name="connsiteY21" fmla="*/ 2425485 h 2425485"/>
              <a:gd name="connsiteX22" fmla="*/ 2428714 w 3183691"/>
              <a:gd name="connsiteY22" fmla="*/ 2416445 h 2425485"/>
              <a:gd name="connsiteX23" fmla="*/ 2179288 w 3183691"/>
              <a:gd name="connsiteY23" fmla="*/ 2361150 h 2425485"/>
              <a:gd name="connsiteX24" fmla="*/ 1771570 w 3183691"/>
              <a:gd name="connsiteY24" fmla="*/ 2246608 h 2425485"/>
              <a:gd name="connsiteX25" fmla="*/ 1566701 w 3183691"/>
              <a:gd name="connsiteY25" fmla="*/ 2149744 h 2425485"/>
              <a:gd name="connsiteX26" fmla="*/ 1359008 w 3183691"/>
              <a:gd name="connsiteY26" fmla="*/ 2026726 h 2425485"/>
              <a:gd name="connsiteX27" fmla="*/ 1238089 w 3183691"/>
              <a:gd name="connsiteY27" fmla="*/ 1906857 h 2425485"/>
              <a:gd name="connsiteX28" fmla="*/ 1150991 w 3183691"/>
              <a:gd name="connsiteY28" fmla="*/ 1774556 h 2425485"/>
              <a:gd name="connsiteX29" fmla="*/ 1071079 w 3183691"/>
              <a:gd name="connsiteY29" fmla="*/ 1537319 h 2425485"/>
              <a:gd name="connsiteX30" fmla="*/ 1077133 w 3183691"/>
              <a:gd name="connsiteY30" fmla="*/ 1286359 h 2425485"/>
              <a:gd name="connsiteX31" fmla="*/ 1077133 w 3183691"/>
              <a:gd name="connsiteY31" fmla="*/ 945397 h 2425485"/>
              <a:gd name="connsiteX32" fmla="*/ 875655 w 3183691"/>
              <a:gd name="connsiteY32" fmla="*/ 736169 h 2425485"/>
              <a:gd name="connsiteX33" fmla="*/ 596685 w 3183691"/>
              <a:gd name="connsiteY33" fmla="*/ 480447 h 2425485"/>
              <a:gd name="connsiteX34" fmla="*/ 402956 w 3183691"/>
              <a:gd name="connsiteY34" fmla="*/ 325464 h 2425485"/>
              <a:gd name="connsiteX35" fmla="*/ 46495 w 3183691"/>
              <a:gd name="connsiteY35" fmla="*/ 85241 h 2425485"/>
              <a:gd name="connsiteX36" fmla="*/ 0 w 3183691"/>
              <a:gd name="connsiteY36" fmla="*/ 0 h 2425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183691" h="2425485">
                <a:moveTo>
                  <a:pt x="0" y="0"/>
                </a:moveTo>
                <a:lnTo>
                  <a:pt x="247973" y="123986"/>
                </a:lnTo>
                <a:lnTo>
                  <a:pt x="480448" y="325464"/>
                </a:lnTo>
                <a:lnTo>
                  <a:pt x="705174" y="519194"/>
                </a:lnTo>
                <a:lnTo>
                  <a:pt x="821411" y="619932"/>
                </a:lnTo>
                <a:lnTo>
                  <a:pt x="1007390" y="813661"/>
                </a:lnTo>
                <a:lnTo>
                  <a:pt x="1170122" y="906651"/>
                </a:lnTo>
                <a:lnTo>
                  <a:pt x="1528925" y="965092"/>
                </a:lnTo>
                <a:cubicBezTo>
                  <a:pt x="1557339" y="965092"/>
                  <a:pt x="1748483" y="941845"/>
                  <a:pt x="1776897" y="941845"/>
                </a:cubicBezTo>
                <a:lnTo>
                  <a:pt x="2033426" y="878157"/>
                </a:lnTo>
                <a:lnTo>
                  <a:pt x="2300287" y="828675"/>
                </a:lnTo>
                <a:lnTo>
                  <a:pt x="2523964" y="825769"/>
                </a:lnTo>
                <a:lnTo>
                  <a:pt x="2696706" y="891153"/>
                </a:lnTo>
                <a:lnTo>
                  <a:pt x="2843052" y="1001981"/>
                </a:lnTo>
                <a:lnTo>
                  <a:pt x="2952590" y="1140094"/>
                </a:lnTo>
                <a:lnTo>
                  <a:pt x="3068665" y="1363851"/>
                </a:lnTo>
                <a:lnTo>
                  <a:pt x="3157377" y="1549669"/>
                </a:lnTo>
                <a:lnTo>
                  <a:pt x="3183691" y="1760349"/>
                </a:lnTo>
                <a:lnTo>
                  <a:pt x="3145591" y="2103653"/>
                </a:lnTo>
                <a:lnTo>
                  <a:pt x="3029355" y="2329589"/>
                </a:lnTo>
                <a:lnTo>
                  <a:pt x="2847814" y="2416444"/>
                </a:lnTo>
                <a:lnTo>
                  <a:pt x="2681207" y="2425485"/>
                </a:lnTo>
                <a:lnTo>
                  <a:pt x="2428714" y="2416445"/>
                </a:lnTo>
                <a:lnTo>
                  <a:pt x="2179288" y="2361150"/>
                </a:lnTo>
                <a:lnTo>
                  <a:pt x="1771570" y="2246608"/>
                </a:lnTo>
                <a:lnTo>
                  <a:pt x="1566701" y="2149744"/>
                </a:lnTo>
                <a:lnTo>
                  <a:pt x="1359008" y="2026726"/>
                </a:lnTo>
                <a:lnTo>
                  <a:pt x="1238089" y="1906857"/>
                </a:lnTo>
                <a:lnTo>
                  <a:pt x="1150991" y="1774556"/>
                </a:lnTo>
                <a:lnTo>
                  <a:pt x="1071079" y="1537319"/>
                </a:lnTo>
                <a:lnTo>
                  <a:pt x="1077133" y="1286359"/>
                </a:lnTo>
                <a:lnTo>
                  <a:pt x="1077133" y="945397"/>
                </a:lnTo>
                <a:lnTo>
                  <a:pt x="875655" y="736169"/>
                </a:lnTo>
                <a:lnTo>
                  <a:pt x="596685" y="480447"/>
                </a:lnTo>
                <a:lnTo>
                  <a:pt x="402956" y="325464"/>
                </a:lnTo>
                <a:lnTo>
                  <a:pt x="46495" y="85241"/>
                </a:lnTo>
                <a:lnTo>
                  <a:pt x="0" y="0"/>
                </a:lnTo>
                <a:close/>
              </a:path>
            </a:pathLst>
          </a:custGeom>
          <a:solidFill>
            <a:srgbClr val="FF9966">
              <a:alpha val="50000"/>
            </a:srgbClr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spc="0" normalizeH="0" baseline="0">
              <a:ln>
                <a:noFill/>
              </a:ln>
              <a:solidFill>
                <a:srgbClr val="595959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8 Rectángulo"/>
          <p:cNvSpPr/>
          <p:nvPr/>
        </p:nvSpPr>
        <p:spPr>
          <a:xfrm rot="19736650">
            <a:off x="3451510" y="1707654"/>
            <a:ext cx="216024" cy="288032"/>
          </a:xfrm>
          <a:prstGeom prst="rect">
            <a:avLst/>
          </a:prstGeom>
          <a:noFill/>
          <a:ln w="25400" cap="flat">
            <a:solidFill>
              <a:srgbClr val="FFFF00"/>
            </a:solidFill>
            <a:prstDash val="sysDot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spc="0" normalizeH="0" baseline="0">
              <a:ln>
                <a:noFill/>
              </a:ln>
              <a:solidFill>
                <a:srgbClr val="595959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9" name="28 Grupo"/>
          <p:cNvGrpSpPr/>
          <p:nvPr/>
        </p:nvGrpSpPr>
        <p:grpSpPr>
          <a:xfrm>
            <a:off x="2800201" y="838200"/>
            <a:ext cx="1154596" cy="2979428"/>
            <a:chOff x="2800201" y="838200"/>
            <a:chExt cx="1154596" cy="2979428"/>
          </a:xfrm>
        </p:grpSpPr>
        <p:sp>
          <p:nvSpPr>
            <p:cNvPr id="10" name="9 Forma libre"/>
            <p:cNvSpPr/>
            <p:nvPr/>
          </p:nvSpPr>
          <p:spPr>
            <a:xfrm>
              <a:off x="2800201" y="838200"/>
              <a:ext cx="1154596" cy="2979428"/>
            </a:xfrm>
            <a:custGeom>
              <a:avLst/>
              <a:gdLst>
                <a:gd name="connsiteX0" fmla="*/ 3959 w 1131719"/>
                <a:gd name="connsiteY0" fmla="*/ 0 h 2590800"/>
                <a:gd name="connsiteX1" fmla="*/ 34439 w 1131719"/>
                <a:gd name="connsiteY1" fmla="*/ 76200 h 2590800"/>
                <a:gd name="connsiteX2" fmla="*/ 255419 w 1131719"/>
                <a:gd name="connsiteY2" fmla="*/ 205740 h 2590800"/>
                <a:gd name="connsiteX3" fmla="*/ 316379 w 1131719"/>
                <a:gd name="connsiteY3" fmla="*/ 228600 h 2590800"/>
                <a:gd name="connsiteX4" fmla="*/ 316379 w 1131719"/>
                <a:gd name="connsiteY4" fmla="*/ 281940 h 2590800"/>
                <a:gd name="connsiteX5" fmla="*/ 354479 w 1131719"/>
                <a:gd name="connsiteY5" fmla="*/ 411480 h 2590800"/>
                <a:gd name="connsiteX6" fmla="*/ 323999 w 1131719"/>
                <a:gd name="connsiteY6" fmla="*/ 518160 h 2590800"/>
                <a:gd name="connsiteX7" fmla="*/ 346859 w 1131719"/>
                <a:gd name="connsiteY7" fmla="*/ 640080 h 2590800"/>
                <a:gd name="connsiteX8" fmla="*/ 415439 w 1131719"/>
                <a:gd name="connsiteY8" fmla="*/ 777240 h 2590800"/>
                <a:gd name="connsiteX9" fmla="*/ 461159 w 1131719"/>
                <a:gd name="connsiteY9" fmla="*/ 891540 h 2590800"/>
                <a:gd name="connsiteX10" fmla="*/ 552599 w 1131719"/>
                <a:gd name="connsiteY10" fmla="*/ 982980 h 2590800"/>
                <a:gd name="connsiteX11" fmla="*/ 590699 w 1131719"/>
                <a:gd name="connsiteY11" fmla="*/ 1043940 h 2590800"/>
                <a:gd name="connsiteX12" fmla="*/ 613559 w 1131719"/>
                <a:gd name="connsiteY12" fmla="*/ 1181100 h 2590800"/>
                <a:gd name="connsiteX13" fmla="*/ 613559 w 1131719"/>
                <a:gd name="connsiteY13" fmla="*/ 1310640 h 2590800"/>
                <a:gd name="connsiteX14" fmla="*/ 674519 w 1131719"/>
                <a:gd name="connsiteY14" fmla="*/ 1363980 h 2590800"/>
                <a:gd name="connsiteX15" fmla="*/ 697379 w 1131719"/>
                <a:gd name="connsiteY15" fmla="*/ 1455420 h 2590800"/>
                <a:gd name="connsiteX16" fmla="*/ 735479 w 1131719"/>
                <a:gd name="connsiteY16" fmla="*/ 1516380 h 2590800"/>
                <a:gd name="connsiteX17" fmla="*/ 758339 w 1131719"/>
                <a:gd name="connsiteY17" fmla="*/ 1607820 h 2590800"/>
                <a:gd name="connsiteX18" fmla="*/ 826919 w 1131719"/>
                <a:gd name="connsiteY18" fmla="*/ 1714500 h 2590800"/>
                <a:gd name="connsiteX19" fmla="*/ 826919 w 1131719"/>
                <a:gd name="connsiteY19" fmla="*/ 1775460 h 2590800"/>
                <a:gd name="connsiteX20" fmla="*/ 872639 w 1131719"/>
                <a:gd name="connsiteY20" fmla="*/ 1859280 h 2590800"/>
                <a:gd name="connsiteX21" fmla="*/ 918359 w 1131719"/>
                <a:gd name="connsiteY21" fmla="*/ 1927860 h 2590800"/>
                <a:gd name="connsiteX22" fmla="*/ 994559 w 1131719"/>
                <a:gd name="connsiteY22" fmla="*/ 2019300 h 2590800"/>
                <a:gd name="connsiteX23" fmla="*/ 1047899 w 1131719"/>
                <a:gd name="connsiteY23" fmla="*/ 2065020 h 2590800"/>
                <a:gd name="connsiteX24" fmla="*/ 1063139 w 1131719"/>
                <a:gd name="connsiteY24" fmla="*/ 2194560 h 2590800"/>
                <a:gd name="connsiteX25" fmla="*/ 1047899 w 1131719"/>
                <a:gd name="connsiteY25" fmla="*/ 2286000 h 2590800"/>
                <a:gd name="connsiteX26" fmla="*/ 1047899 w 1131719"/>
                <a:gd name="connsiteY26" fmla="*/ 2407920 h 2590800"/>
                <a:gd name="connsiteX27" fmla="*/ 1055519 w 1131719"/>
                <a:gd name="connsiteY27" fmla="*/ 2491740 h 2590800"/>
                <a:gd name="connsiteX28" fmla="*/ 1116479 w 1131719"/>
                <a:gd name="connsiteY28" fmla="*/ 2567940 h 2590800"/>
                <a:gd name="connsiteX29" fmla="*/ 1131719 w 1131719"/>
                <a:gd name="connsiteY29" fmla="*/ 2590800 h 2590800"/>
                <a:gd name="connsiteX0" fmla="*/ 3959 w 1131866"/>
                <a:gd name="connsiteY0" fmla="*/ 0 h 2591267"/>
                <a:gd name="connsiteX1" fmla="*/ 34439 w 1131866"/>
                <a:gd name="connsiteY1" fmla="*/ 76200 h 2591267"/>
                <a:gd name="connsiteX2" fmla="*/ 255419 w 1131866"/>
                <a:gd name="connsiteY2" fmla="*/ 205740 h 2591267"/>
                <a:gd name="connsiteX3" fmla="*/ 316379 w 1131866"/>
                <a:gd name="connsiteY3" fmla="*/ 228600 h 2591267"/>
                <a:gd name="connsiteX4" fmla="*/ 316379 w 1131866"/>
                <a:gd name="connsiteY4" fmla="*/ 281940 h 2591267"/>
                <a:gd name="connsiteX5" fmla="*/ 354479 w 1131866"/>
                <a:gd name="connsiteY5" fmla="*/ 411480 h 2591267"/>
                <a:gd name="connsiteX6" fmla="*/ 323999 w 1131866"/>
                <a:gd name="connsiteY6" fmla="*/ 518160 h 2591267"/>
                <a:gd name="connsiteX7" fmla="*/ 346859 w 1131866"/>
                <a:gd name="connsiteY7" fmla="*/ 640080 h 2591267"/>
                <a:gd name="connsiteX8" fmla="*/ 415439 w 1131866"/>
                <a:gd name="connsiteY8" fmla="*/ 777240 h 2591267"/>
                <a:gd name="connsiteX9" fmla="*/ 461159 w 1131866"/>
                <a:gd name="connsiteY9" fmla="*/ 891540 h 2591267"/>
                <a:gd name="connsiteX10" fmla="*/ 552599 w 1131866"/>
                <a:gd name="connsiteY10" fmla="*/ 982980 h 2591267"/>
                <a:gd name="connsiteX11" fmla="*/ 590699 w 1131866"/>
                <a:gd name="connsiteY11" fmla="*/ 1043940 h 2591267"/>
                <a:gd name="connsiteX12" fmla="*/ 613559 w 1131866"/>
                <a:gd name="connsiteY12" fmla="*/ 1181100 h 2591267"/>
                <a:gd name="connsiteX13" fmla="*/ 613559 w 1131866"/>
                <a:gd name="connsiteY13" fmla="*/ 1310640 h 2591267"/>
                <a:gd name="connsiteX14" fmla="*/ 674519 w 1131866"/>
                <a:gd name="connsiteY14" fmla="*/ 1363980 h 2591267"/>
                <a:gd name="connsiteX15" fmla="*/ 697379 w 1131866"/>
                <a:gd name="connsiteY15" fmla="*/ 1455420 h 2591267"/>
                <a:gd name="connsiteX16" fmla="*/ 735479 w 1131866"/>
                <a:gd name="connsiteY16" fmla="*/ 1516380 h 2591267"/>
                <a:gd name="connsiteX17" fmla="*/ 758339 w 1131866"/>
                <a:gd name="connsiteY17" fmla="*/ 1607820 h 2591267"/>
                <a:gd name="connsiteX18" fmla="*/ 826919 w 1131866"/>
                <a:gd name="connsiteY18" fmla="*/ 1714500 h 2591267"/>
                <a:gd name="connsiteX19" fmla="*/ 826919 w 1131866"/>
                <a:gd name="connsiteY19" fmla="*/ 1775460 h 2591267"/>
                <a:gd name="connsiteX20" fmla="*/ 872639 w 1131866"/>
                <a:gd name="connsiteY20" fmla="*/ 1859280 h 2591267"/>
                <a:gd name="connsiteX21" fmla="*/ 918359 w 1131866"/>
                <a:gd name="connsiteY21" fmla="*/ 1927860 h 2591267"/>
                <a:gd name="connsiteX22" fmla="*/ 994559 w 1131866"/>
                <a:gd name="connsiteY22" fmla="*/ 2019300 h 2591267"/>
                <a:gd name="connsiteX23" fmla="*/ 1047899 w 1131866"/>
                <a:gd name="connsiteY23" fmla="*/ 2065020 h 2591267"/>
                <a:gd name="connsiteX24" fmla="*/ 1063139 w 1131866"/>
                <a:gd name="connsiteY24" fmla="*/ 2194560 h 2591267"/>
                <a:gd name="connsiteX25" fmla="*/ 1047899 w 1131866"/>
                <a:gd name="connsiteY25" fmla="*/ 2286000 h 2591267"/>
                <a:gd name="connsiteX26" fmla="*/ 1047899 w 1131866"/>
                <a:gd name="connsiteY26" fmla="*/ 2407920 h 2591267"/>
                <a:gd name="connsiteX27" fmla="*/ 1055519 w 1131866"/>
                <a:gd name="connsiteY27" fmla="*/ 2491740 h 2591267"/>
                <a:gd name="connsiteX28" fmla="*/ 1116479 w 1131866"/>
                <a:gd name="connsiteY28" fmla="*/ 2567940 h 2591267"/>
                <a:gd name="connsiteX29" fmla="*/ 1131719 w 1131866"/>
                <a:gd name="connsiteY29" fmla="*/ 2590800 h 2591267"/>
                <a:gd name="connsiteX30" fmla="*/ 1124099 w 1131866"/>
                <a:gd name="connsiteY30" fmla="*/ 2583180 h 2591267"/>
                <a:gd name="connsiteX0" fmla="*/ 3959 w 1131745"/>
                <a:gd name="connsiteY0" fmla="*/ 0 h 2720354"/>
                <a:gd name="connsiteX1" fmla="*/ 34439 w 1131745"/>
                <a:gd name="connsiteY1" fmla="*/ 76200 h 2720354"/>
                <a:gd name="connsiteX2" fmla="*/ 255419 w 1131745"/>
                <a:gd name="connsiteY2" fmla="*/ 205740 h 2720354"/>
                <a:gd name="connsiteX3" fmla="*/ 316379 w 1131745"/>
                <a:gd name="connsiteY3" fmla="*/ 228600 h 2720354"/>
                <a:gd name="connsiteX4" fmla="*/ 316379 w 1131745"/>
                <a:gd name="connsiteY4" fmla="*/ 281940 h 2720354"/>
                <a:gd name="connsiteX5" fmla="*/ 354479 w 1131745"/>
                <a:gd name="connsiteY5" fmla="*/ 411480 h 2720354"/>
                <a:gd name="connsiteX6" fmla="*/ 323999 w 1131745"/>
                <a:gd name="connsiteY6" fmla="*/ 518160 h 2720354"/>
                <a:gd name="connsiteX7" fmla="*/ 346859 w 1131745"/>
                <a:gd name="connsiteY7" fmla="*/ 640080 h 2720354"/>
                <a:gd name="connsiteX8" fmla="*/ 415439 w 1131745"/>
                <a:gd name="connsiteY8" fmla="*/ 777240 h 2720354"/>
                <a:gd name="connsiteX9" fmla="*/ 461159 w 1131745"/>
                <a:gd name="connsiteY9" fmla="*/ 891540 h 2720354"/>
                <a:gd name="connsiteX10" fmla="*/ 552599 w 1131745"/>
                <a:gd name="connsiteY10" fmla="*/ 982980 h 2720354"/>
                <a:gd name="connsiteX11" fmla="*/ 590699 w 1131745"/>
                <a:gd name="connsiteY11" fmla="*/ 1043940 h 2720354"/>
                <a:gd name="connsiteX12" fmla="*/ 613559 w 1131745"/>
                <a:gd name="connsiteY12" fmla="*/ 1181100 h 2720354"/>
                <a:gd name="connsiteX13" fmla="*/ 613559 w 1131745"/>
                <a:gd name="connsiteY13" fmla="*/ 1310640 h 2720354"/>
                <a:gd name="connsiteX14" fmla="*/ 674519 w 1131745"/>
                <a:gd name="connsiteY14" fmla="*/ 1363980 h 2720354"/>
                <a:gd name="connsiteX15" fmla="*/ 697379 w 1131745"/>
                <a:gd name="connsiteY15" fmla="*/ 1455420 h 2720354"/>
                <a:gd name="connsiteX16" fmla="*/ 735479 w 1131745"/>
                <a:gd name="connsiteY16" fmla="*/ 1516380 h 2720354"/>
                <a:gd name="connsiteX17" fmla="*/ 758339 w 1131745"/>
                <a:gd name="connsiteY17" fmla="*/ 1607820 h 2720354"/>
                <a:gd name="connsiteX18" fmla="*/ 826919 w 1131745"/>
                <a:gd name="connsiteY18" fmla="*/ 1714500 h 2720354"/>
                <a:gd name="connsiteX19" fmla="*/ 826919 w 1131745"/>
                <a:gd name="connsiteY19" fmla="*/ 1775460 h 2720354"/>
                <a:gd name="connsiteX20" fmla="*/ 872639 w 1131745"/>
                <a:gd name="connsiteY20" fmla="*/ 1859280 h 2720354"/>
                <a:gd name="connsiteX21" fmla="*/ 918359 w 1131745"/>
                <a:gd name="connsiteY21" fmla="*/ 1927860 h 2720354"/>
                <a:gd name="connsiteX22" fmla="*/ 994559 w 1131745"/>
                <a:gd name="connsiteY22" fmla="*/ 2019300 h 2720354"/>
                <a:gd name="connsiteX23" fmla="*/ 1047899 w 1131745"/>
                <a:gd name="connsiteY23" fmla="*/ 2065020 h 2720354"/>
                <a:gd name="connsiteX24" fmla="*/ 1063139 w 1131745"/>
                <a:gd name="connsiteY24" fmla="*/ 2194560 h 2720354"/>
                <a:gd name="connsiteX25" fmla="*/ 1047899 w 1131745"/>
                <a:gd name="connsiteY25" fmla="*/ 2286000 h 2720354"/>
                <a:gd name="connsiteX26" fmla="*/ 1047899 w 1131745"/>
                <a:gd name="connsiteY26" fmla="*/ 2407920 h 2720354"/>
                <a:gd name="connsiteX27" fmla="*/ 1055519 w 1131745"/>
                <a:gd name="connsiteY27" fmla="*/ 2491740 h 2720354"/>
                <a:gd name="connsiteX28" fmla="*/ 1116479 w 1131745"/>
                <a:gd name="connsiteY28" fmla="*/ 2567940 h 2720354"/>
                <a:gd name="connsiteX29" fmla="*/ 1131719 w 1131745"/>
                <a:gd name="connsiteY29" fmla="*/ 2590800 h 2720354"/>
                <a:gd name="connsiteX30" fmla="*/ 1085999 w 1131745"/>
                <a:gd name="connsiteY30" fmla="*/ 2720340 h 2720354"/>
                <a:gd name="connsiteX0" fmla="*/ 3959 w 1116960"/>
                <a:gd name="connsiteY0" fmla="*/ 0 h 2849916"/>
                <a:gd name="connsiteX1" fmla="*/ 34439 w 1116960"/>
                <a:gd name="connsiteY1" fmla="*/ 76200 h 2849916"/>
                <a:gd name="connsiteX2" fmla="*/ 255419 w 1116960"/>
                <a:gd name="connsiteY2" fmla="*/ 205740 h 2849916"/>
                <a:gd name="connsiteX3" fmla="*/ 316379 w 1116960"/>
                <a:gd name="connsiteY3" fmla="*/ 228600 h 2849916"/>
                <a:gd name="connsiteX4" fmla="*/ 316379 w 1116960"/>
                <a:gd name="connsiteY4" fmla="*/ 281940 h 2849916"/>
                <a:gd name="connsiteX5" fmla="*/ 354479 w 1116960"/>
                <a:gd name="connsiteY5" fmla="*/ 411480 h 2849916"/>
                <a:gd name="connsiteX6" fmla="*/ 323999 w 1116960"/>
                <a:gd name="connsiteY6" fmla="*/ 518160 h 2849916"/>
                <a:gd name="connsiteX7" fmla="*/ 346859 w 1116960"/>
                <a:gd name="connsiteY7" fmla="*/ 640080 h 2849916"/>
                <a:gd name="connsiteX8" fmla="*/ 415439 w 1116960"/>
                <a:gd name="connsiteY8" fmla="*/ 777240 h 2849916"/>
                <a:gd name="connsiteX9" fmla="*/ 461159 w 1116960"/>
                <a:gd name="connsiteY9" fmla="*/ 891540 h 2849916"/>
                <a:gd name="connsiteX10" fmla="*/ 552599 w 1116960"/>
                <a:gd name="connsiteY10" fmla="*/ 982980 h 2849916"/>
                <a:gd name="connsiteX11" fmla="*/ 590699 w 1116960"/>
                <a:gd name="connsiteY11" fmla="*/ 1043940 h 2849916"/>
                <a:gd name="connsiteX12" fmla="*/ 613559 w 1116960"/>
                <a:gd name="connsiteY12" fmla="*/ 1181100 h 2849916"/>
                <a:gd name="connsiteX13" fmla="*/ 613559 w 1116960"/>
                <a:gd name="connsiteY13" fmla="*/ 1310640 h 2849916"/>
                <a:gd name="connsiteX14" fmla="*/ 674519 w 1116960"/>
                <a:gd name="connsiteY14" fmla="*/ 1363980 h 2849916"/>
                <a:gd name="connsiteX15" fmla="*/ 697379 w 1116960"/>
                <a:gd name="connsiteY15" fmla="*/ 1455420 h 2849916"/>
                <a:gd name="connsiteX16" fmla="*/ 735479 w 1116960"/>
                <a:gd name="connsiteY16" fmla="*/ 1516380 h 2849916"/>
                <a:gd name="connsiteX17" fmla="*/ 758339 w 1116960"/>
                <a:gd name="connsiteY17" fmla="*/ 1607820 h 2849916"/>
                <a:gd name="connsiteX18" fmla="*/ 826919 w 1116960"/>
                <a:gd name="connsiteY18" fmla="*/ 1714500 h 2849916"/>
                <a:gd name="connsiteX19" fmla="*/ 826919 w 1116960"/>
                <a:gd name="connsiteY19" fmla="*/ 1775460 h 2849916"/>
                <a:gd name="connsiteX20" fmla="*/ 872639 w 1116960"/>
                <a:gd name="connsiteY20" fmla="*/ 1859280 h 2849916"/>
                <a:gd name="connsiteX21" fmla="*/ 918359 w 1116960"/>
                <a:gd name="connsiteY21" fmla="*/ 1927860 h 2849916"/>
                <a:gd name="connsiteX22" fmla="*/ 994559 w 1116960"/>
                <a:gd name="connsiteY22" fmla="*/ 2019300 h 2849916"/>
                <a:gd name="connsiteX23" fmla="*/ 1047899 w 1116960"/>
                <a:gd name="connsiteY23" fmla="*/ 2065020 h 2849916"/>
                <a:gd name="connsiteX24" fmla="*/ 1063139 w 1116960"/>
                <a:gd name="connsiteY24" fmla="*/ 2194560 h 2849916"/>
                <a:gd name="connsiteX25" fmla="*/ 1047899 w 1116960"/>
                <a:gd name="connsiteY25" fmla="*/ 2286000 h 2849916"/>
                <a:gd name="connsiteX26" fmla="*/ 1047899 w 1116960"/>
                <a:gd name="connsiteY26" fmla="*/ 2407920 h 2849916"/>
                <a:gd name="connsiteX27" fmla="*/ 1055519 w 1116960"/>
                <a:gd name="connsiteY27" fmla="*/ 2491740 h 2849916"/>
                <a:gd name="connsiteX28" fmla="*/ 1116479 w 1116960"/>
                <a:gd name="connsiteY28" fmla="*/ 2567940 h 2849916"/>
                <a:gd name="connsiteX29" fmla="*/ 1085999 w 1116960"/>
                <a:gd name="connsiteY29" fmla="*/ 2849880 h 2849916"/>
                <a:gd name="connsiteX30" fmla="*/ 1085999 w 1116960"/>
                <a:gd name="connsiteY30" fmla="*/ 2720340 h 2849916"/>
                <a:gd name="connsiteX0" fmla="*/ 3959 w 1116960"/>
                <a:gd name="connsiteY0" fmla="*/ 0 h 2849916"/>
                <a:gd name="connsiteX1" fmla="*/ 34439 w 1116960"/>
                <a:gd name="connsiteY1" fmla="*/ 76200 h 2849916"/>
                <a:gd name="connsiteX2" fmla="*/ 255419 w 1116960"/>
                <a:gd name="connsiteY2" fmla="*/ 205740 h 2849916"/>
                <a:gd name="connsiteX3" fmla="*/ 316379 w 1116960"/>
                <a:gd name="connsiteY3" fmla="*/ 228600 h 2849916"/>
                <a:gd name="connsiteX4" fmla="*/ 316379 w 1116960"/>
                <a:gd name="connsiteY4" fmla="*/ 281940 h 2849916"/>
                <a:gd name="connsiteX5" fmla="*/ 354479 w 1116960"/>
                <a:gd name="connsiteY5" fmla="*/ 411480 h 2849916"/>
                <a:gd name="connsiteX6" fmla="*/ 323999 w 1116960"/>
                <a:gd name="connsiteY6" fmla="*/ 518160 h 2849916"/>
                <a:gd name="connsiteX7" fmla="*/ 346859 w 1116960"/>
                <a:gd name="connsiteY7" fmla="*/ 640080 h 2849916"/>
                <a:gd name="connsiteX8" fmla="*/ 415439 w 1116960"/>
                <a:gd name="connsiteY8" fmla="*/ 777240 h 2849916"/>
                <a:gd name="connsiteX9" fmla="*/ 461159 w 1116960"/>
                <a:gd name="connsiteY9" fmla="*/ 891540 h 2849916"/>
                <a:gd name="connsiteX10" fmla="*/ 552599 w 1116960"/>
                <a:gd name="connsiteY10" fmla="*/ 982980 h 2849916"/>
                <a:gd name="connsiteX11" fmla="*/ 590699 w 1116960"/>
                <a:gd name="connsiteY11" fmla="*/ 1043940 h 2849916"/>
                <a:gd name="connsiteX12" fmla="*/ 613559 w 1116960"/>
                <a:gd name="connsiteY12" fmla="*/ 1181100 h 2849916"/>
                <a:gd name="connsiteX13" fmla="*/ 613559 w 1116960"/>
                <a:gd name="connsiteY13" fmla="*/ 1310640 h 2849916"/>
                <a:gd name="connsiteX14" fmla="*/ 674519 w 1116960"/>
                <a:gd name="connsiteY14" fmla="*/ 1363980 h 2849916"/>
                <a:gd name="connsiteX15" fmla="*/ 697379 w 1116960"/>
                <a:gd name="connsiteY15" fmla="*/ 1455420 h 2849916"/>
                <a:gd name="connsiteX16" fmla="*/ 735479 w 1116960"/>
                <a:gd name="connsiteY16" fmla="*/ 1516380 h 2849916"/>
                <a:gd name="connsiteX17" fmla="*/ 758339 w 1116960"/>
                <a:gd name="connsiteY17" fmla="*/ 1607820 h 2849916"/>
                <a:gd name="connsiteX18" fmla="*/ 826919 w 1116960"/>
                <a:gd name="connsiteY18" fmla="*/ 1714500 h 2849916"/>
                <a:gd name="connsiteX19" fmla="*/ 826919 w 1116960"/>
                <a:gd name="connsiteY19" fmla="*/ 1775460 h 2849916"/>
                <a:gd name="connsiteX20" fmla="*/ 872639 w 1116960"/>
                <a:gd name="connsiteY20" fmla="*/ 1859280 h 2849916"/>
                <a:gd name="connsiteX21" fmla="*/ 918359 w 1116960"/>
                <a:gd name="connsiteY21" fmla="*/ 1927860 h 2849916"/>
                <a:gd name="connsiteX22" fmla="*/ 994559 w 1116960"/>
                <a:gd name="connsiteY22" fmla="*/ 2019300 h 2849916"/>
                <a:gd name="connsiteX23" fmla="*/ 1047899 w 1116960"/>
                <a:gd name="connsiteY23" fmla="*/ 2065020 h 2849916"/>
                <a:gd name="connsiteX24" fmla="*/ 1063139 w 1116960"/>
                <a:gd name="connsiteY24" fmla="*/ 2194560 h 2849916"/>
                <a:gd name="connsiteX25" fmla="*/ 1047899 w 1116960"/>
                <a:gd name="connsiteY25" fmla="*/ 2286000 h 2849916"/>
                <a:gd name="connsiteX26" fmla="*/ 1047899 w 1116960"/>
                <a:gd name="connsiteY26" fmla="*/ 2407920 h 2849916"/>
                <a:gd name="connsiteX27" fmla="*/ 1055519 w 1116960"/>
                <a:gd name="connsiteY27" fmla="*/ 2491740 h 2849916"/>
                <a:gd name="connsiteX28" fmla="*/ 1116479 w 1116960"/>
                <a:gd name="connsiteY28" fmla="*/ 2567940 h 2849916"/>
                <a:gd name="connsiteX29" fmla="*/ 1085999 w 1116960"/>
                <a:gd name="connsiteY29" fmla="*/ 2849880 h 2849916"/>
                <a:gd name="connsiteX30" fmla="*/ 1032659 w 1116960"/>
                <a:gd name="connsiteY30" fmla="*/ 2720340 h 2849916"/>
                <a:gd name="connsiteX0" fmla="*/ 3959 w 1116960"/>
                <a:gd name="connsiteY0" fmla="*/ 0 h 3002292"/>
                <a:gd name="connsiteX1" fmla="*/ 34439 w 1116960"/>
                <a:gd name="connsiteY1" fmla="*/ 76200 h 3002292"/>
                <a:gd name="connsiteX2" fmla="*/ 255419 w 1116960"/>
                <a:gd name="connsiteY2" fmla="*/ 205740 h 3002292"/>
                <a:gd name="connsiteX3" fmla="*/ 316379 w 1116960"/>
                <a:gd name="connsiteY3" fmla="*/ 228600 h 3002292"/>
                <a:gd name="connsiteX4" fmla="*/ 316379 w 1116960"/>
                <a:gd name="connsiteY4" fmla="*/ 281940 h 3002292"/>
                <a:gd name="connsiteX5" fmla="*/ 354479 w 1116960"/>
                <a:gd name="connsiteY5" fmla="*/ 411480 h 3002292"/>
                <a:gd name="connsiteX6" fmla="*/ 323999 w 1116960"/>
                <a:gd name="connsiteY6" fmla="*/ 518160 h 3002292"/>
                <a:gd name="connsiteX7" fmla="*/ 346859 w 1116960"/>
                <a:gd name="connsiteY7" fmla="*/ 640080 h 3002292"/>
                <a:gd name="connsiteX8" fmla="*/ 415439 w 1116960"/>
                <a:gd name="connsiteY8" fmla="*/ 777240 h 3002292"/>
                <a:gd name="connsiteX9" fmla="*/ 461159 w 1116960"/>
                <a:gd name="connsiteY9" fmla="*/ 891540 h 3002292"/>
                <a:gd name="connsiteX10" fmla="*/ 552599 w 1116960"/>
                <a:gd name="connsiteY10" fmla="*/ 982980 h 3002292"/>
                <a:gd name="connsiteX11" fmla="*/ 590699 w 1116960"/>
                <a:gd name="connsiteY11" fmla="*/ 1043940 h 3002292"/>
                <a:gd name="connsiteX12" fmla="*/ 613559 w 1116960"/>
                <a:gd name="connsiteY12" fmla="*/ 1181100 h 3002292"/>
                <a:gd name="connsiteX13" fmla="*/ 613559 w 1116960"/>
                <a:gd name="connsiteY13" fmla="*/ 1310640 h 3002292"/>
                <a:gd name="connsiteX14" fmla="*/ 674519 w 1116960"/>
                <a:gd name="connsiteY14" fmla="*/ 1363980 h 3002292"/>
                <a:gd name="connsiteX15" fmla="*/ 697379 w 1116960"/>
                <a:gd name="connsiteY15" fmla="*/ 1455420 h 3002292"/>
                <a:gd name="connsiteX16" fmla="*/ 735479 w 1116960"/>
                <a:gd name="connsiteY16" fmla="*/ 1516380 h 3002292"/>
                <a:gd name="connsiteX17" fmla="*/ 758339 w 1116960"/>
                <a:gd name="connsiteY17" fmla="*/ 1607820 h 3002292"/>
                <a:gd name="connsiteX18" fmla="*/ 826919 w 1116960"/>
                <a:gd name="connsiteY18" fmla="*/ 1714500 h 3002292"/>
                <a:gd name="connsiteX19" fmla="*/ 826919 w 1116960"/>
                <a:gd name="connsiteY19" fmla="*/ 1775460 h 3002292"/>
                <a:gd name="connsiteX20" fmla="*/ 872639 w 1116960"/>
                <a:gd name="connsiteY20" fmla="*/ 1859280 h 3002292"/>
                <a:gd name="connsiteX21" fmla="*/ 918359 w 1116960"/>
                <a:gd name="connsiteY21" fmla="*/ 1927860 h 3002292"/>
                <a:gd name="connsiteX22" fmla="*/ 994559 w 1116960"/>
                <a:gd name="connsiteY22" fmla="*/ 2019300 h 3002292"/>
                <a:gd name="connsiteX23" fmla="*/ 1047899 w 1116960"/>
                <a:gd name="connsiteY23" fmla="*/ 2065020 h 3002292"/>
                <a:gd name="connsiteX24" fmla="*/ 1063139 w 1116960"/>
                <a:gd name="connsiteY24" fmla="*/ 2194560 h 3002292"/>
                <a:gd name="connsiteX25" fmla="*/ 1047899 w 1116960"/>
                <a:gd name="connsiteY25" fmla="*/ 2286000 h 3002292"/>
                <a:gd name="connsiteX26" fmla="*/ 1047899 w 1116960"/>
                <a:gd name="connsiteY26" fmla="*/ 2407920 h 3002292"/>
                <a:gd name="connsiteX27" fmla="*/ 1055519 w 1116960"/>
                <a:gd name="connsiteY27" fmla="*/ 2491740 h 3002292"/>
                <a:gd name="connsiteX28" fmla="*/ 1116479 w 1116960"/>
                <a:gd name="connsiteY28" fmla="*/ 2567940 h 3002292"/>
                <a:gd name="connsiteX29" fmla="*/ 1085999 w 1116960"/>
                <a:gd name="connsiteY29" fmla="*/ 2849880 h 3002292"/>
                <a:gd name="connsiteX30" fmla="*/ 1108859 w 1116960"/>
                <a:gd name="connsiteY30" fmla="*/ 3002280 h 3002292"/>
                <a:gd name="connsiteX0" fmla="*/ 3959 w 1116502"/>
                <a:gd name="connsiteY0" fmla="*/ 0 h 3002287"/>
                <a:gd name="connsiteX1" fmla="*/ 34439 w 1116502"/>
                <a:gd name="connsiteY1" fmla="*/ 76200 h 3002287"/>
                <a:gd name="connsiteX2" fmla="*/ 255419 w 1116502"/>
                <a:gd name="connsiteY2" fmla="*/ 205740 h 3002287"/>
                <a:gd name="connsiteX3" fmla="*/ 316379 w 1116502"/>
                <a:gd name="connsiteY3" fmla="*/ 228600 h 3002287"/>
                <a:gd name="connsiteX4" fmla="*/ 316379 w 1116502"/>
                <a:gd name="connsiteY4" fmla="*/ 281940 h 3002287"/>
                <a:gd name="connsiteX5" fmla="*/ 354479 w 1116502"/>
                <a:gd name="connsiteY5" fmla="*/ 411480 h 3002287"/>
                <a:gd name="connsiteX6" fmla="*/ 323999 w 1116502"/>
                <a:gd name="connsiteY6" fmla="*/ 518160 h 3002287"/>
                <a:gd name="connsiteX7" fmla="*/ 346859 w 1116502"/>
                <a:gd name="connsiteY7" fmla="*/ 640080 h 3002287"/>
                <a:gd name="connsiteX8" fmla="*/ 415439 w 1116502"/>
                <a:gd name="connsiteY8" fmla="*/ 777240 h 3002287"/>
                <a:gd name="connsiteX9" fmla="*/ 461159 w 1116502"/>
                <a:gd name="connsiteY9" fmla="*/ 891540 h 3002287"/>
                <a:gd name="connsiteX10" fmla="*/ 552599 w 1116502"/>
                <a:gd name="connsiteY10" fmla="*/ 982980 h 3002287"/>
                <a:gd name="connsiteX11" fmla="*/ 590699 w 1116502"/>
                <a:gd name="connsiteY11" fmla="*/ 1043940 h 3002287"/>
                <a:gd name="connsiteX12" fmla="*/ 613559 w 1116502"/>
                <a:gd name="connsiteY12" fmla="*/ 1181100 h 3002287"/>
                <a:gd name="connsiteX13" fmla="*/ 613559 w 1116502"/>
                <a:gd name="connsiteY13" fmla="*/ 1310640 h 3002287"/>
                <a:gd name="connsiteX14" fmla="*/ 674519 w 1116502"/>
                <a:gd name="connsiteY14" fmla="*/ 1363980 h 3002287"/>
                <a:gd name="connsiteX15" fmla="*/ 697379 w 1116502"/>
                <a:gd name="connsiteY15" fmla="*/ 1455420 h 3002287"/>
                <a:gd name="connsiteX16" fmla="*/ 735479 w 1116502"/>
                <a:gd name="connsiteY16" fmla="*/ 1516380 h 3002287"/>
                <a:gd name="connsiteX17" fmla="*/ 758339 w 1116502"/>
                <a:gd name="connsiteY17" fmla="*/ 1607820 h 3002287"/>
                <a:gd name="connsiteX18" fmla="*/ 826919 w 1116502"/>
                <a:gd name="connsiteY18" fmla="*/ 1714500 h 3002287"/>
                <a:gd name="connsiteX19" fmla="*/ 826919 w 1116502"/>
                <a:gd name="connsiteY19" fmla="*/ 1775460 h 3002287"/>
                <a:gd name="connsiteX20" fmla="*/ 872639 w 1116502"/>
                <a:gd name="connsiteY20" fmla="*/ 1859280 h 3002287"/>
                <a:gd name="connsiteX21" fmla="*/ 918359 w 1116502"/>
                <a:gd name="connsiteY21" fmla="*/ 1927860 h 3002287"/>
                <a:gd name="connsiteX22" fmla="*/ 994559 w 1116502"/>
                <a:gd name="connsiteY22" fmla="*/ 2019300 h 3002287"/>
                <a:gd name="connsiteX23" fmla="*/ 1047899 w 1116502"/>
                <a:gd name="connsiteY23" fmla="*/ 2065020 h 3002287"/>
                <a:gd name="connsiteX24" fmla="*/ 1063139 w 1116502"/>
                <a:gd name="connsiteY24" fmla="*/ 2194560 h 3002287"/>
                <a:gd name="connsiteX25" fmla="*/ 1047899 w 1116502"/>
                <a:gd name="connsiteY25" fmla="*/ 2286000 h 3002287"/>
                <a:gd name="connsiteX26" fmla="*/ 1047899 w 1116502"/>
                <a:gd name="connsiteY26" fmla="*/ 2407920 h 3002287"/>
                <a:gd name="connsiteX27" fmla="*/ 1055519 w 1116502"/>
                <a:gd name="connsiteY27" fmla="*/ 2491740 h 3002287"/>
                <a:gd name="connsiteX28" fmla="*/ 1116479 w 1116502"/>
                <a:gd name="connsiteY28" fmla="*/ 2567940 h 3002287"/>
                <a:gd name="connsiteX29" fmla="*/ 1047899 w 1116502"/>
                <a:gd name="connsiteY29" fmla="*/ 2750820 h 3002287"/>
                <a:gd name="connsiteX30" fmla="*/ 1108859 w 1116502"/>
                <a:gd name="connsiteY30" fmla="*/ 3002280 h 3002287"/>
                <a:gd name="connsiteX0" fmla="*/ 3959 w 1154596"/>
                <a:gd name="connsiteY0" fmla="*/ 0 h 2979428"/>
                <a:gd name="connsiteX1" fmla="*/ 34439 w 1154596"/>
                <a:gd name="connsiteY1" fmla="*/ 76200 h 2979428"/>
                <a:gd name="connsiteX2" fmla="*/ 255419 w 1154596"/>
                <a:gd name="connsiteY2" fmla="*/ 205740 h 2979428"/>
                <a:gd name="connsiteX3" fmla="*/ 316379 w 1154596"/>
                <a:gd name="connsiteY3" fmla="*/ 228600 h 2979428"/>
                <a:gd name="connsiteX4" fmla="*/ 316379 w 1154596"/>
                <a:gd name="connsiteY4" fmla="*/ 281940 h 2979428"/>
                <a:gd name="connsiteX5" fmla="*/ 354479 w 1154596"/>
                <a:gd name="connsiteY5" fmla="*/ 411480 h 2979428"/>
                <a:gd name="connsiteX6" fmla="*/ 323999 w 1154596"/>
                <a:gd name="connsiteY6" fmla="*/ 518160 h 2979428"/>
                <a:gd name="connsiteX7" fmla="*/ 346859 w 1154596"/>
                <a:gd name="connsiteY7" fmla="*/ 640080 h 2979428"/>
                <a:gd name="connsiteX8" fmla="*/ 415439 w 1154596"/>
                <a:gd name="connsiteY8" fmla="*/ 777240 h 2979428"/>
                <a:gd name="connsiteX9" fmla="*/ 461159 w 1154596"/>
                <a:gd name="connsiteY9" fmla="*/ 891540 h 2979428"/>
                <a:gd name="connsiteX10" fmla="*/ 552599 w 1154596"/>
                <a:gd name="connsiteY10" fmla="*/ 982980 h 2979428"/>
                <a:gd name="connsiteX11" fmla="*/ 590699 w 1154596"/>
                <a:gd name="connsiteY11" fmla="*/ 1043940 h 2979428"/>
                <a:gd name="connsiteX12" fmla="*/ 613559 w 1154596"/>
                <a:gd name="connsiteY12" fmla="*/ 1181100 h 2979428"/>
                <a:gd name="connsiteX13" fmla="*/ 613559 w 1154596"/>
                <a:gd name="connsiteY13" fmla="*/ 1310640 h 2979428"/>
                <a:gd name="connsiteX14" fmla="*/ 674519 w 1154596"/>
                <a:gd name="connsiteY14" fmla="*/ 1363980 h 2979428"/>
                <a:gd name="connsiteX15" fmla="*/ 697379 w 1154596"/>
                <a:gd name="connsiteY15" fmla="*/ 1455420 h 2979428"/>
                <a:gd name="connsiteX16" fmla="*/ 735479 w 1154596"/>
                <a:gd name="connsiteY16" fmla="*/ 1516380 h 2979428"/>
                <a:gd name="connsiteX17" fmla="*/ 758339 w 1154596"/>
                <a:gd name="connsiteY17" fmla="*/ 1607820 h 2979428"/>
                <a:gd name="connsiteX18" fmla="*/ 826919 w 1154596"/>
                <a:gd name="connsiteY18" fmla="*/ 1714500 h 2979428"/>
                <a:gd name="connsiteX19" fmla="*/ 826919 w 1154596"/>
                <a:gd name="connsiteY19" fmla="*/ 1775460 h 2979428"/>
                <a:gd name="connsiteX20" fmla="*/ 872639 w 1154596"/>
                <a:gd name="connsiteY20" fmla="*/ 1859280 h 2979428"/>
                <a:gd name="connsiteX21" fmla="*/ 918359 w 1154596"/>
                <a:gd name="connsiteY21" fmla="*/ 1927860 h 2979428"/>
                <a:gd name="connsiteX22" fmla="*/ 994559 w 1154596"/>
                <a:gd name="connsiteY22" fmla="*/ 2019300 h 2979428"/>
                <a:gd name="connsiteX23" fmla="*/ 1047899 w 1154596"/>
                <a:gd name="connsiteY23" fmla="*/ 2065020 h 2979428"/>
                <a:gd name="connsiteX24" fmla="*/ 1063139 w 1154596"/>
                <a:gd name="connsiteY24" fmla="*/ 2194560 h 2979428"/>
                <a:gd name="connsiteX25" fmla="*/ 1047899 w 1154596"/>
                <a:gd name="connsiteY25" fmla="*/ 2286000 h 2979428"/>
                <a:gd name="connsiteX26" fmla="*/ 1047899 w 1154596"/>
                <a:gd name="connsiteY26" fmla="*/ 2407920 h 2979428"/>
                <a:gd name="connsiteX27" fmla="*/ 1055519 w 1154596"/>
                <a:gd name="connsiteY27" fmla="*/ 2491740 h 2979428"/>
                <a:gd name="connsiteX28" fmla="*/ 1116479 w 1154596"/>
                <a:gd name="connsiteY28" fmla="*/ 2567940 h 2979428"/>
                <a:gd name="connsiteX29" fmla="*/ 1047899 w 1154596"/>
                <a:gd name="connsiteY29" fmla="*/ 2750820 h 2979428"/>
                <a:gd name="connsiteX30" fmla="*/ 1154579 w 1154596"/>
                <a:gd name="connsiteY30" fmla="*/ 2979420 h 297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54596" h="2979428">
                  <a:moveTo>
                    <a:pt x="3959" y="0"/>
                  </a:moveTo>
                  <a:cubicBezTo>
                    <a:pt x="-1756" y="20955"/>
                    <a:pt x="-7471" y="41910"/>
                    <a:pt x="34439" y="76200"/>
                  </a:cubicBezTo>
                  <a:cubicBezTo>
                    <a:pt x="76349" y="110490"/>
                    <a:pt x="208429" y="180340"/>
                    <a:pt x="255419" y="205740"/>
                  </a:cubicBezTo>
                  <a:cubicBezTo>
                    <a:pt x="302409" y="231140"/>
                    <a:pt x="306219" y="215900"/>
                    <a:pt x="316379" y="228600"/>
                  </a:cubicBezTo>
                  <a:cubicBezTo>
                    <a:pt x="326539" y="241300"/>
                    <a:pt x="310029" y="251460"/>
                    <a:pt x="316379" y="281940"/>
                  </a:cubicBezTo>
                  <a:cubicBezTo>
                    <a:pt x="322729" y="312420"/>
                    <a:pt x="353209" y="372110"/>
                    <a:pt x="354479" y="411480"/>
                  </a:cubicBezTo>
                  <a:cubicBezTo>
                    <a:pt x="355749" y="450850"/>
                    <a:pt x="325269" y="480060"/>
                    <a:pt x="323999" y="518160"/>
                  </a:cubicBezTo>
                  <a:cubicBezTo>
                    <a:pt x="322729" y="556260"/>
                    <a:pt x="331619" y="596900"/>
                    <a:pt x="346859" y="640080"/>
                  </a:cubicBezTo>
                  <a:cubicBezTo>
                    <a:pt x="362099" y="683260"/>
                    <a:pt x="396389" y="735330"/>
                    <a:pt x="415439" y="777240"/>
                  </a:cubicBezTo>
                  <a:cubicBezTo>
                    <a:pt x="434489" y="819150"/>
                    <a:pt x="438299" y="857250"/>
                    <a:pt x="461159" y="891540"/>
                  </a:cubicBezTo>
                  <a:cubicBezTo>
                    <a:pt x="484019" y="925830"/>
                    <a:pt x="531009" y="957580"/>
                    <a:pt x="552599" y="982980"/>
                  </a:cubicBezTo>
                  <a:cubicBezTo>
                    <a:pt x="574189" y="1008380"/>
                    <a:pt x="580539" y="1010920"/>
                    <a:pt x="590699" y="1043940"/>
                  </a:cubicBezTo>
                  <a:cubicBezTo>
                    <a:pt x="600859" y="1076960"/>
                    <a:pt x="609749" y="1136650"/>
                    <a:pt x="613559" y="1181100"/>
                  </a:cubicBezTo>
                  <a:cubicBezTo>
                    <a:pt x="617369" y="1225550"/>
                    <a:pt x="603399" y="1280160"/>
                    <a:pt x="613559" y="1310640"/>
                  </a:cubicBezTo>
                  <a:cubicBezTo>
                    <a:pt x="623719" y="1341120"/>
                    <a:pt x="660549" y="1339850"/>
                    <a:pt x="674519" y="1363980"/>
                  </a:cubicBezTo>
                  <a:cubicBezTo>
                    <a:pt x="688489" y="1388110"/>
                    <a:pt x="687219" y="1430020"/>
                    <a:pt x="697379" y="1455420"/>
                  </a:cubicBezTo>
                  <a:cubicBezTo>
                    <a:pt x="707539" y="1480820"/>
                    <a:pt x="725319" y="1490980"/>
                    <a:pt x="735479" y="1516380"/>
                  </a:cubicBezTo>
                  <a:cubicBezTo>
                    <a:pt x="745639" y="1541780"/>
                    <a:pt x="743099" y="1574800"/>
                    <a:pt x="758339" y="1607820"/>
                  </a:cubicBezTo>
                  <a:cubicBezTo>
                    <a:pt x="773579" y="1640840"/>
                    <a:pt x="815489" y="1686560"/>
                    <a:pt x="826919" y="1714500"/>
                  </a:cubicBezTo>
                  <a:cubicBezTo>
                    <a:pt x="838349" y="1742440"/>
                    <a:pt x="819299" y="1751330"/>
                    <a:pt x="826919" y="1775460"/>
                  </a:cubicBezTo>
                  <a:cubicBezTo>
                    <a:pt x="834539" y="1799590"/>
                    <a:pt x="857399" y="1833880"/>
                    <a:pt x="872639" y="1859280"/>
                  </a:cubicBezTo>
                  <a:cubicBezTo>
                    <a:pt x="887879" y="1884680"/>
                    <a:pt x="898039" y="1901190"/>
                    <a:pt x="918359" y="1927860"/>
                  </a:cubicBezTo>
                  <a:cubicBezTo>
                    <a:pt x="938679" y="1954530"/>
                    <a:pt x="972969" y="1996440"/>
                    <a:pt x="994559" y="2019300"/>
                  </a:cubicBezTo>
                  <a:cubicBezTo>
                    <a:pt x="1016149" y="2042160"/>
                    <a:pt x="1036469" y="2035810"/>
                    <a:pt x="1047899" y="2065020"/>
                  </a:cubicBezTo>
                  <a:cubicBezTo>
                    <a:pt x="1059329" y="2094230"/>
                    <a:pt x="1063139" y="2157730"/>
                    <a:pt x="1063139" y="2194560"/>
                  </a:cubicBezTo>
                  <a:cubicBezTo>
                    <a:pt x="1063139" y="2231390"/>
                    <a:pt x="1050439" y="2250440"/>
                    <a:pt x="1047899" y="2286000"/>
                  </a:cubicBezTo>
                  <a:cubicBezTo>
                    <a:pt x="1045359" y="2321560"/>
                    <a:pt x="1046629" y="2373630"/>
                    <a:pt x="1047899" y="2407920"/>
                  </a:cubicBezTo>
                  <a:cubicBezTo>
                    <a:pt x="1049169" y="2442210"/>
                    <a:pt x="1044089" y="2465070"/>
                    <a:pt x="1055519" y="2491740"/>
                  </a:cubicBezTo>
                  <a:cubicBezTo>
                    <a:pt x="1066949" y="2518410"/>
                    <a:pt x="1117749" y="2524760"/>
                    <a:pt x="1116479" y="2567940"/>
                  </a:cubicBezTo>
                  <a:cubicBezTo>
                    <a:pt x="1115209" y="2611120"/>
                    <a:pt x="1046629" y="2745740"/>
                    <a:pt x="1047899" y="2750820"/>
                  </a:cubicBezTo>
                  <a:cubicBezTo>
                    <a:pt x="1049169" y="2753360"/>
                    <a:pt x="1156166" y="2981007"/>
                    <a:pt x="1154579" y="2979420"/>
                  </a:cubicBezTo>
                </a:path>
              </a:pathLst>
            </a:custGeom>
            <a:noFill/>
            <a:ln w="25400" cap="flat">
              <a:solidFill>
                <a:schemeClr val="accent1">
                  <a:lumMod val="60000"/>
                  <a:lumOff val="40000"/>
                </a:schemeClr>
              </a:solidFill>
              <a:prstDash val="sysDot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O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12" name="11 CuadroTexto"/>
            <p:cNvSpPr txBox="1"/>
            <p:nvPr/>
          </p:nvSpPr>
          <p:spPr>
            <a:xfrm rot="4099009">
              <a:off x="2487806" y="1845041"/>
              <a:ext cx="1498706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Qda</a:t>
              </a: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. Taruca </a:t>
              </a:r>
            </a:p>
          </p:txBody>
        </p:sp>
      </p:grpSp>
      <p:grpSp>
        <p:nvGrpSpPr>
          <p:cNvPr id="30" name="29 Grupo"/>
          <p:cNvGrpSpPr/>
          <p:nvPr/>
        </p:nvGrpSpPr>
        <p:grpSpPr>
          <a:xfrm>
            <a:off x="1104900" y="2571868"/>
            <a:ext cx="4465059" cy="2198252"/>
            <a:chOff x="1104900" y="2571868"/>
            <a:chExt cx="4465059" cy="2198252"/>
          </a:xfrm>
        </p:grpSpPr>
        <p:sp>
          <p:nvSpPr>
            <p:cNvPr id="11" name="10 Forma libre"/>
            <p:cNvSpPr/>
            <p:nvPr/>
          </p:nvSpPr>
          <p:spPr>
            <a:xfrm>
              <a:off x="1104900" y="2571868"/>
              <a:ext cx="4465059" cy="2198252"/>
            </a:xfrm>
            <a:custGeom>
              <a:avLst/>
              <a:gdLst>
                <a:gd name="connsiteX0" fmla="*/ 0 w 4465059"/>
                <a:gd name="connsiteY0" fmla="*/ 18932 h 2198252"/>
                <a:gd name="connsiteX1" fmla="*/ 68580 w 4465059"/>
                <a:gd name="connsiteY1" fmla="*/ 3692 h 2198252"/>
                <a:gd name="connsiteX2" fmla="*/ 175260 w 4465059"/>
                <a:gd name="connsiteY2" fmla="*/ 79892 h 2198252"/>
                <a:gd name="connsiteX3" fmla="*/ 243840 w 4465059"/>
                <a:gd name="connsiteY3" fmla="*/ 133232 h 2198252"/>
                <a:gd name="connsiteX4" fmla="*/ 381000 w 4465059"/>
                <a:gd name="connsiteY4" fmla="*/ 148472 h 2198252"/>
                <a:gd name="connsiteX5" fmla="*/ 472440 w 4465059"/>
                <a:gd name="connsiteY5" fmla="*/ 178952 h 2198252"/>
                <a:gd name="connsiteX6" fmla="*/ 571500 w 4465059"/>
                <a:gd name="connsiteY6" fmla="*/ 255152 h 2198252"/>
                <a:gd name="connsiteX7" fmla="*/ 647700 w 4465059"/>
                <a:gd name="connsiteY7" fmla="*/ 338972 h 2198252"/>
                <a:gd name="connsiteX8" fmla="*/ 746760 w 4465059"/>
                <a:gd name="connsiteY8" fmla="*/ 445652 h 2198252"/>
                <a:gd name="connsiteX9" fmla="*/ 731520 w 4465059"/>
                <a:gd name="connsiteY9" fmla="*/ 636152 h 2198252"/>
                <a:gd name="connsiteX10" fmla="*/ 807720 w 4465059"/>
                <a:gd name="connsiteY10" fmla="*/ 689492 h 2198252"/>
                <a:gd name="connsiteX11" fmla="*/ 876300 w 4465059"/>
                <a:gd name="connsiteY11" fmla="*/ 719972 h 2198252"/>
                <a:gd name="connsiteX12" fmla="*/ 967740 w 4465059"/>
                <a:gd name="connsiteY12" fmla="*/ 765692 h 2198252"/>
                <a:gd name="connsiteX13" fmla="*/ 1082040 w 4465059"/>
                <a:gd name="connsiteY13" fmla="*/ 780932 h 2198252"/>
                <a:gd name="connsiteX14" fmla="*/ 1295400 w 4465059"/>
                <a:gd name="connsiteY14" fmla="*/ 788552 h 2198252"/>
                <a:gd name="connsiteX15" fmla="*/ 1341120 w 4465059"/>
                <a:gd name="connsiteY15" fmla="*/ 796172 h 2198252"/>
                <a:gd name="connsiteX16" fmla="*/ 1424940 w 4465059"/>
                <a:gd name="connsiteY16" fmla="*/ 796172 h 2198252"/>
                <a:gd name="connsiteX17" fmla="*/ 1508760 w 4465059"/>
                <a:gd name="connsiteY17" fmla="*/ 758072 h 2198252"/>
                <a:gd name="connsiteX18" fmla="*/ 1600200 w 4465059"/>
                <a:gd name="connsiteY18" fmla="*/ 719972 h 2198252"/>
                <a:gd name="connsiteX19" fmla="*/ 1684020 w 4465059"/>
                <a:gd name="connsiteY19" fmla="*/ 735212 h 2198252"/>
                <a:gd name="connsiteX20" fmla="*/ 1798320 w 4465059"/>
                <a:gd name="connsiteY20" fmla="*/ 780932 h 2198252"/>
                <a:gd name="connsiteX21" fmla="*/ 1981200 w 4465059"/>
                <a:gd name="connsiteY21" fmla="*/ 819032 h 2198252"/>
                <a:gd name="connsiteX22" fmla="*/ 2103120 w 4465059"/>
                <a:gd name="connsiteY22" fmla="*/ 803792 h 2198252"/>
                <a:gd name="connsiteX23" fmla="*/ 2240280 w 4465059"/>
                <a:gd name="connsiteY23" fmla="*/ 872372 h 2198252"/>
                <a:gd name="connsiteX24" fmla="*/ 2369820 w 4465059"/>
                <a:gd name="connsiteY24" fmla="*/ 1070492 h 2198252"/>
                <a:gd name="connsiteX25" fmla="*/ 2514600 w 4465059"/>
                <a:gd name="connsiteY25" fmla="*/ 1184792 h 2198252"/>
                <a:gd name="connsiteX26" fmla="*/ 2560320 w 4465059"/>
                <a:gd name="connsiteY26" fmla="*/ 1253372 h 2198252"/>
                <a:gd name="connsiteX27" fmla="*/ 2644140 w 4465059"/>
                <a:gd name="connsiteY27" fmla="*/ 1276232 h 2198252"/>
                <a:gd name="connsiteX28" fmla="*/ 2788920 w 4465059"/>
                <a:gd name="connsiteY28" fmla="*/ 1276232 h 2198252"/>
                <a:gd name="connsiteX29" fmla="*/ 2872740 w 4465059"/>
                <a:gd name="connsiteY29" fmla="*/ 1245752 h 2198252"/>
                <a:gd name="connsiteX30" fmla="*/ 2948940 w 4465059"/>
                <a:gd name="connsiteY30" fmla="*/ 1314332 h 2198252"/>
                <a:gd name="connsiteX31" fmla="*/ 2956560 w 4465059"/>
                <a:gd name="connsiteY31" fmla="*/ 1382912 h 2198252"/>
                <a:gd name="connsiteX32" fmla="*/ 2956560 w 4465059"/>
                <a:gd name="connsiteY32" fmla="*/ 1459112 h 2198252"/>
                <a:gd name="connsiteX33" fmla="*/ 2964180 w 4465059"/>
                <a:gd name="connsiteY33" fmla="*/ 1504832 h 2198252"/>
                <a:gd name="connsiteX34" fmla="*/ 3002280 w 4465059"/>
                <a:gd name="connsiteY34" fmla="*/ 1542932 h 2198252"/>
                <a:gd name="connsiteX35" fmla="*/ 3108960 w 4465059"/>
                <a:gd name="connsiteY35" fmla="*/ 1520072 h 2198252"/>
                <a:gd name="connsiteX36" fmla="*/ 3253740 w 4465059"/>
                <a:gd name="connsiteY36" fmla="*/ 1588652 h 2198252"/>
                <a:gd name="connsiteX37" fmla="*/ 3345180 w 4465059"/>
                <a:gd name="connsiteY37" fmla="*/ 1710572 h 2198252"/>
                <a:gd name="connsiteX38" fmla="*/ 3421380 w 4465059"/>
                <a:gd name="connsiteY38" fmla="*/ 1763912 h 2198252"/>
                <a:gd name="connsiteX39" fmla="*/ 3489960 w 4465059"/>
                <a:gd name="connsiteY39" fmla="*/ 1802012 h 2198252"/>
                <a:gd name="connsiteX40" fmla="*/ 3665220 w 4465059"/>
                <a:gd name="connsiteY40" fmla="*/ 1832492 h 2198252"/>
                <a:gd name="connsiteX41" fmla="*/ 3764280 w 4465059"/>
                <a:gd name="connsiteY41" fmla="*/ 1923932 h 2198252"/>
                <a:gd name="connsiteX42" fmla="*/ 3985260 w 4465059"/>
                <a:gd name="connsiteY42" fmla="*/ 1954412 h 2198252"/>
                <a:gd name="connsiteX43" fmla="*/ 4191000 w 4465059"/>
                <a:gd name="connsiteY43" fmla="*/ 2061092 h 2198252"/>
                <a:gd name="connsiteX44" fmla="*/ 4267200 w 4465059"/>
                <a:gd name="connsiteY44" fmla="*/ 2129672 h 2198252"/>
                <a:gd name="connsiteX45" fmla="*/ 4351020 w 4465059"/>
                <a:gd name="connsiteY45" fmla="*/ 2167772 h 2198252"/>
                <a:gd name="connsiteX46" fmla="*/ 4457700 w 4465059"/>
                <a:gd name="connsiteY46" fmla="*/ 2198252 h 219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465059" h="2198252">
                  <a:moveTo>
                    <a:pt x="0" y="18932"/>
                  </a:moveTo>
                  <a:cubicBezTo>
                    <a:pt x="19685" y="6232"/>
                    <a:pt x="39370" y="-6468"/>
                    <a:pt x="68580" y="3692"/>
                  </a:cubicBezTo>
                  <a:cubicBezTo>
                    <a:pt x="97790" y="13852"/>
                    <a:pt x="146050" y="58302"/>
                    <a:pt x="175260" y="79892"/>
                  </a:cubicBezTo>
                  <a:cubicBezTo>
                    <a:pt x="204470" y="101482"/>
                    <a:pt x="209550" y="121802"/>
                    <a:pt x="243840" y="133232"/>
                  </a:cubicBezTo>
                  <a:cubicBezTo>
                    <a:pt x="278130" y="144662"/>
                    <a:pt x="342900" y="140852"/>
                    <a:pt x="381000" y="148472"/>
                  </a:cubicBezTo>
                  <a:cubicBezTo>
                    <a:pt x="419100" y="156092"/>
                    <a:pt x="440690" y="161172"/>
                    <a:pt x="472440" y="178952"/>
                  </a:cubicBezTo>
                  <a:cubicBezTo>
                    <a:pt x="504190" y="196732"/>
                    <a:pt x="542290" y="228482"/>
                    <a:pt x="571500" y="255152"/>
                  </a:cubicBezTo>
                  <a:cubicBezTo>
                    <a:pt x="600710" y="281822"/>
                    <a:pt x="618490" y="307222"/>
                    <a:pt x="647700" y="338972"/>
                  </a:cubicBezTo>
                  <a:cubicBezTo>
                    <a:pt x="676910" y="370722"/>
                    <a:pt x="732790" y="396122"/>
                    <a:pt x="746760" y="445652"/>
                  </a:cubicBezTo>
                  <a:cubicBezTo>
                    <a:pt x="760730" y="495182"/>
                    <a:pt x="721360" y="595512"/>
                    <a:pt x="731520" y="636152"/>
                  </a:cubicBezTo>
                  <a:cubicBezTo>
                    <a:pt x="741680" y="676792"/>
                    <a:pt x="783590" y="675522"/>
                    <a:pt x="807720" y="689492"/>
                  </a:cubicBezTo>
                  <a:cubicBezTo>
                    <a:pt x="831850" y="703462"/>
                    <a:pt x="849630" y="707272"/>
                    <a:pt x="876300" y="719972"/>
                  </a:cubicBezTo>
                  <a:cubicBezTo>
                    <a:pt x="902970" y="732672"/>
                    <a:pt x="933450" y="755532"/>
                    <a:pt x="967740" y="765692"/>
                  </a:cubicBezTo>
                  <a:cubicBezTo>
                    <a:pt x="1002030" y="775852"/>
                    <a:pt x="1027430" y="777122"/>
                    <a:pt x="1082040" y="780932"/>
                  </a:cubicBezTo>
                  <a:cubicBezTo>
                    <a:pt x="1136650" y="784742"/>
                    <a:pt x="1252220" y="786012"/>
                    <a:pt x="1295400" y="788552"/>
                  </a:cubicBezTo>
                  <a:cubicBezTo>
                    <a:pt x="1338580" y="791092"/>
                    <a:pt x="1319530" y="794902"/>
                    <a:pt x="1341120" y="796172"/>
                  </a:cubicBezTo>
                  <a:cubicBezTo>
                    <a:pt x="1362710" y="797442"/>
                    <a:pt x="1397000" y="802522"/>
                    <a:pt x="1424940" y="796172"/>
                  </a:cubicBezTo>
                  <a:cubicBezTo>
                    <a:pt x="1452880" y="789822"/>
                    <a:pt x="1479550" y="770772"/>
                    <a:pt x="1508760" y="758072"/>
                  </a:cubicBezTo>
                  <a:cubicBezTo>
                    <a:pt x="1537970" y="745372"/>
                    <a:pt x="1570990" y="723782"/>
                    <a:pt x="1600200" y="719972"/>
                  </a:cubicBezTo>
                  <a:cubicBezTo>
                    <a:pt x="1629410" y="716162"/>
                    <a:pt x="1651000" y="725052"/>
                    <a:pt x="1684020" y="735212"/>
                  </a:cubicBezTo>
                  <a:cubicBezTo>
                    <a:pt x="1717040" y="745372"/>
                    <a:pt x="1748790" y="766962"/>
                    <a:pt x="1798320" y="780932"/>
                  </a:cubicBezTo>
                  <a:cubicBezTo>
                    <a:pt x="1847850" y="794902"/>
                    <a:pt x="1930400" y="815222"/>
                    <a:pt x="1981200" y="819032"/>
                  </a:cubicBezTo>
                  <a:cubicBezTo>
                    <a:pt x="2032000" y="822842"/>
                    <a:pt x="2059940" y="794902"/>
                    <a:pt x="2103120" y="803792"/>
                  </a:cubicBezTo>
                  <a:cubicBezTo>
                    <a:pt x="2146300" y="812682"/>
                    <a:pt x="2195830" y="827922"/>
                    <a:pt x="2240280" y="872372"/>
                  </a:cubicBezTo>
                  <a:cubicBezTo>
                    <a:pt x="2284730" y="916822"/>
                    <a:pt x="2324100" y="1018422"/>
                    <a:pt x="2369820" y="1070492"/>
                  </a:cubicBezTo>
                  <a:cubicBezTo>
                    <a:pt x="2415540" y="1122562"/>
                    <a:pt x="2482850" y="1154312"/>
                    <a:pt x="2514600" y="1184792"/>
                  </a:cubicBezTo>
                  <a:cubicBezTo>
                    <a:pt x="2546350" y="1215272"/>
                    <a:pt x="2538730" y="1238132"/>
                    <a:pt x="2560320" y="1253372"/>
                  </a:cubicBezTo>
                  <a:cubicBezTo>
                    <a:pt x="2581910" y="1268612"/>
                    <a:pt x="2606040" y="1272422"/>
                    <a:pt x="2644140" y="1276232"/>
                  </a:cubicBezTo>
                  <a:cubicBezTo>
                    <a:pt x="2682240" y="1280042"/>
                    <a:pt x="2750820" y="1281312"/>
                    <a:pt x="2788920" y="1276232"/>
                  </a:cubicBezTo>
                  <a:cubicBezTo>
                    <a:pt x="2827020" y="1271152"/>
                    <a:pt x="2846070" y="1239402"/>
                    <a:pt x="2872740" y="1245752"/>
                  </a:cubicBezTo>
                  <a:cubicBezTo>
                    <a:pt x="2899410" y="1252102"/>
                    <a:pt x="2934970" y="1291472"/>
                    <a:pt x="2948940" y="1314332"/>
                  </a:cubicBezTo>
                  <a:cubicBezTo>
                    <a:pt x="2962910" y="1337192"/>
                    <a:pt x="2955290" y="1358782"/>
                    <a:pt x="2956560" y="1382912"/>
                  </a:cubicBezTo>
                  <a:cubicBezTo>
                    <a:pt x="2957830" y="1407042"/>
                    <a:pt x="2955290" y="1438792"/>
                    <a:pt x="2956560" y="1459112"/>
                  </a:cubicBezTo>
                  <a:cubicBezTo>
                    <a:pt x="2957830" y="1479432"/>
                    <a:pt x="2956560" y="1490862"/>
                    <a:pt x="2964180" y="1504832"/>
                  </a:cubicBezTo>
                  <a:cubicBezTo>
                    <a:pt x="2971800" y="1518802"/>
                    <a:pt x="2978150" y="1540392"/>
                    <a:pt x="3002280" y="1542932"/>
                  </a:cubicBezTo>
                  <a:cubicBezTo>
                    <a:pt x="3026410" y="1545472"/>
                    <a:pt x="3067050" y="1512452"/>
                    <a:pt x="3108960" y="1520072"/>
                  </a:cubicBezTo>
                  <a:cubicBezTo>
                    <a:pt x="3150870" y="1527692"/>
                    <a:pt x="3214370" y="1556902"/>
                    <a:pt x="3253740" y="1588652"/>
                  </a:cubicBezTo>
                  <a:cubicBezTo>
                    <a:pt x="3293110" y="1620402"/>
                    <a:pt x="3317240" y="1681362"/>
                    <a:pt x="3345180" y="1710572"/>
                  </a:cubicBezTo>
                  <a:cubicBezTo>
                    <a:pt x="3373120" y="1739782"/>
                    <a:pt x="3397250" y="1748672"/>
                    <a:pt x="3421380" y="1763912"/>
                  </a:cubicBezTo>
                  <a:cubicBezTo>
                    <a:pt x="3445510" y="1779152"/>
                    <a:pt x="3449320" y="1790582"/>
                    <a:pt x="3489960" y="1802012"/>
                  </a:cubicBezTo>
                  <a:cubicBezTo>
                    <a:pt x="3530600" y="1813442"/>
                    <a:pt x="3619500" y="1812172"/>
                    <a:pt x="3665220" y="1832492"/>
                  </a:cubicBezTo>
                  <a:cubicBezTo>
                    <a:pt x="3710940" y="1852812"/>
                    <a:pt x="3710940" y="1903612"/>
                    <a:pt x="3764280" y="1923932"/>
                  </a:cubicBezTo>
                  <a:cubicBezTo>
                    <a:pt x="3817620" y="1944252"/>
                    <a:pt x="3914140" y="1931552"/>
                    <a:pt x="3985260" y="1954412"/>
                  </a:cubicBezTo>
                  <a:cubicBezTo>
                    <a:pt x="4056380" y="1977272"/>
                    <a:pt x="4144010" y="2031882"/>
                    <a:pt x="4191000" y="2061092"/>
                  </a:cubicBezTo>
                  <a:cubicBezTo>
                    <a:pt x="4237990" y="2090302"/>
                    <a:pt x="4240530" y="2111892"/>
                    <a:pt x="4267200" y="2129672"/>
                  </a:cubicBezTo>
                  <a:cubicBezTo>
                    <a:pt x="4293870" y="2147452"/>
                    <a:pt x="4319270" y="2156342"/>
                    <a:pt x="4351020" y="2167772"/>
                  </a:cubicBezTo>
                  <a:cubicBezTo>
                    <a:pt x="4382770" y="2179202"/>
                    <a:pt x="4494530" y="2189362"/>
                    <a:pt x="4457700" y="2198252"/>
                  </a:cubicBezTo>
                </a:path>
              </a:pathLst>
            </a:custGeom>
            <a:noFill/>
            <a:ln w="25400" cap="flat">
              <a:solidFill>
                <a:schemeClr val="accent1">
                  <a:lumMod val="60000"/>
                  <a:lumOff val="40000"/>
                </a:schemeClr>
              </a:solidFill>
              <a:prstDash val="sysDot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latinLnBrk="1"/>
              <a:endParaRPr lang="es-CO">
                <a:solidFill>
                  <a:srgbClr val="000000"/>
                </a:solidFill>
              </a:endParaRPr>
            </a:p>
          </p:txBody>
        </p:sp>
        <p:sp>
          <p:nvSpPr>
            <p:cNvPr id="14" name="13 CuadroTexto"/>
            <p:cNvSpPr txBox="1"/>
            <p:nvPr/>
          </p:nvSpPr>
          <p:spPr>
            <a:xfrm rot="477363">
              <a:off x="1403726" y="3303838"/>
              <a:ext cx="1498706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Qda</a:t>
              </a: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. </a:t>
              </a: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Sangoyaco</a:t>
              </a:r>
              <a:endParaRPr kumimoji="0" lang="es-CO" sz="800" b="1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7" name="26 Grupo"/>
          <p:cNvGrpSpPr/>
          <p:nvPr/>
        </p:nvGrpSpPr>
        <p:grpSpPr>
          <a:xfrm>
            <a:off x="3449713" y="853440"/>
            <a:ext cx="818658" cy="755917"/>
            <a:chOff x="3449713" y="853440"/>
            <a:chExt cx="818658" cy="755917"/>
          </a:xfrm>
        </p:grpSpPr>
        <p:grpSp>
          <p:nvGrpSpPr>
            <p:cNvPr id="24" name="23 Grupo"/>
            <p:cNvGrpSpPr/>
            <p:nvPr/>
          </p:nvGrpSpPr>
          <p:grpSpPr>
            <a:xfrm>
              <a:off x="3491880" y="853440"/>
              <a:ext cx="234467" cy="755917"/>
              <a:chOff x="3491880" y="853440"/>
              <a:chExt cx="234467" cy="755917"/>
            </a:xfrm>
          </p:grpSpPr>
          <p:sp>
            <p:nvSpPr>
              <p:cNvPr id="18" name="17 Elipse"/>
              <p:cNvSpPr/>
              <p:nvPr/>
            </p:nvSpPr>
            <p:spPr>
              <a:xfrm>
                <a:off x="3491880" y="1563638"/>
                <a:ext cx="45719" cy="45719"/>
              </a:xfrm>
              <a:prstGeom prst="ellipse">
                <a:avLst/>
              </a:prstGeom>
              <a:solidFill>
                <a:srgbClr val="00B050"/>
              </a:solidFill>
              <a:ln w="25400" cap="flat">
                <a:solidFill>
                  <a:srgbClr val="00B05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595959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" name="18 Elipse"/>
              <p:cNvSpPr/>
              <p:nvPr/>
            </p:nvSpPr>
            <p:spPr>
              <a:xfrm>
                <a:off x="3571509" y="1301895"/>
                <a:ext cx="45719" cy="45719"/>
              </a:xfrm>
              <a:prstGeom prst="ellipse">
                <a:avLst/>
              </a:prstGeom>
              <a:solidFill>
                <a:srgbClr val="00B050"/>
              </a:solidFill>
              <a:ln w="25400" cap="flat">
                <a:solidFill>
                  <a:srgbClr val="00B05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595959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22" name="21 Conector recto"/>
              <p:cNvCxnSpPr>
                <a:stCxn id="18" idx="4"/>
              </p:cNvCxnSpPr>
              <p:nvPr/>
            </p:nvCxnSpPr>
            <p:spPr>
              <a:xfrm flipV="1">
                <a:off x="3514740" y="853440"/>
                <a:ext cx="211607" cy="755917"/>
              </a:xfrm>
              <a:prstGeom prst="line">
                <a:avLst/>
              </a:prstGeom>
              <a:noFill/>
              <a:ln w="25400" cap="flat">
                <a:solidFill>
                  <a:srgbClr val="00B050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sp>
          <p:nvSpPr>
            <p:cNvPr id="26" name="25 CuadroTexto"/>
            <p:cNvSpPr txBox="1"/>
            <p:nvPr/>
          </p:nvSpPr>
          <p:spPr>
            <a:xfrm>
              <a:off x="3449713" y="1075217"/>
              <a:ext cx="818658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rgbClr val="00B05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ALMO</a:t>
              </a:r>
            </a:p>
          </p:txBody>
        </p:sp>
      </p:grpSp>
      <p:grpSp>
        <p:nvGrpSpPr>
          <p:cNvPr id="28" name="27 Grupo"/>
          <p:cNvGrpSpPr/>
          <p:nvPr/>
        </p:nvGrpSpPr>
        <p:grpSpPr>
          <a:xfrm>
            <a:off x="2809153" y="853440"/>
            <a:ext cx="818658" cy="861834"/>
            <a:chOff x="2809153" y="853440"/>
            <a:chExt cx="818658" cy="861834"/>
          </a:xfrm>
        </p:grpSpPr>
        <p:grpSp>
          <p:nvGrpSpPr>
            <p:cNvPr id="23" name="22 Grupo"/>
            <p:cNvGrpSpPr/>
            <p:nvPr/>
          </p:nvGrpSpPr>
          <p:grpSpPr>
            <a:xfrm>
              <a:off x="3192781" y="853440"/>
              <a:ext cx="284622" cy="861834"/>
              <a:chOff x="3192781" y="853440"/>
              <a:chExt cx="284622" cy="861834"/>
            </a:xfrm>
          </p:grpSpPr>
          <p:sp>
            <p:nvSpPr>
              <p:cNvPr id="16" name="15 Elipse"/>
              <p:cNvSpPr/>
              <p:nvPr/>
            </p:nvSpPr>
            <p:spPr>
              <a:xfrm>
                <a:off x="3393584" y="1669555"/>
                <a:ext cx="45719" cy="45719"/>
              </a:xfrm>
              <a:prstGeom prst="ellipse">
                <a:avLst/>
              </a:prstGeom>
              <a:solidFill>
                <a:srgbClr val="FF0000"/>
              </a:solidFill>
              <a:ln w="25400" cap="flat">
                <a:solidFill>
                  <a:srgbClr val="FF000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595959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" name="16 Elipse"/>
              <p:cNvSpPr/>
              <p:nvPr/>
            </p:nvSpPr>
            <p:spPr>
              <a:xfrm>
                <a:off x="3431684" y="1396762"/>
                <a:ext cx="45719" cy="45719"/>
              </a:xfrm>
              <a:prstGeom prst="ellipse">
                <a:avLst/>
              </a:prstGeom>
              <a:solidFill>
                <a:srgbClr val="FF0000"/>
              </a:solidFill>
              <a:ln w="25400" cap="flat">
                <a:solidFill>
                  <a:srgbClr val="FF000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595959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" name="19 Forma libre"/>
              <p:cNvSpPr/>
              <p:nvPr/>
            </p:nvSpPr>
            <p:spPr>
              <a:xfrm>
                <a:off x="3192781" y="853440"/>
                <a:ext cx="266700" cy="845820"/>
              </a:xfrm>
              <a:custGeom>
                <a:avLst/>
                <a:gdLst>
                  <a:gd name="connsiteX0" fmla="*/ 83820 w 114300"/>
                  <a:gd name="connsiteY0" fmla="*/ 556260 h 556260"/>
                  <a:gd name="connsiteX1" fmla="*/ 91440 w 114300"/>
                  <a:gd name="connsiteY1" fmla="*/ 472440 h 556260"/>
                  <a:gd name="connsiteX2" fmla="*/ 106680 w 114300"/>
                  <a:gd name="connsiteY2" fmla="*/ 304800 h 556260"/>
                  <a:gd name="connsiteX3" fmla="*/ 114300 w 114300"/>
                  <a:gd name="connsiteY3" fmla="*/ 281940 h 556260"/>
                  <a:gd name="connsiteX4" fmla="*/ 106680 w 114300"/>
                  <a:gd name="connsiteY4" fmla="*/ 236220 h 556260"/>
                  <a:gd name="connsiteX5" fmla="*/ 83820 w 114300"/>
                  <a:gd name="connsiteY5" fmla="*/ 213360 h 556260"/>
                  <a:gd name="connsiteX6" fmla="*/ 53340 w 114300"/>
                  <a:gd name="connsiteY6" fmla="*/ 152400 h 556260"/>
                  <a:gd name="connsiteX7" fmla="*/ 45720 w 114300"/>
                  <a:gd name="connsiteY7" fmla="*/ 129540 h 556260"/>
                  <a:gd name="connsiteX8" fmla="*/ 38100 w 114300"/>
                  <a:gd name="connsiteY8" fmla="*/ 99060 h 556260"/>
                  <a:gd name="connsiteX9" fmla="*/ 22860 w 114300"/>
                  <a:gd name="connsiteY9" fmla="*/ 68580 h 556260"/>
                  <a:gd name="connsiteX10" fmla="*/ 15240 w 114300"/>
                  <a:gd name="connsiteY10" fmla="*/ 38100 h 556260"/>
                  <a:gd name="connsiteX11" fmla="*/ 0 w 114300"/>
                  <a:gd name="connsiteY11" fmla="*/ 0 h 556260"/>
                  <a:gd name="connsiteX0" fmla="*/ 83820 w 114300"/>
                  <a:gd name="connsiteY0" fmla="*/ 556260 h 556260"/>
                  <a:gd name="connsiteX1" fmla="*/ 106680 w 114300"/>
                  <a:gd name="connsiteY1" fmla="*/ 304800 h 556260"/>
                  <a:gd name="connsiteX2" fmla="*/ 114300 w 114300"/>
                  <a:gd name="connsiteY2" fmla="*/ 281940 h 556260"/>
                  <a:gd name="connsiteX3" fmla="*/ 106680 w 114300"/>
                  <a:gd name="connsiteY3" fmla="*/ 236220 h 556260"/>
                  <a:gd name="connsiteX4" fmla="*/ 83820 w 114300"/>
                  <a:gd name="connsiteY4" fmla="*/ 213360 h 556260"/>
                  <a:gd name="connsiteX5" fmla="*/ 53340 w 114300"/>
                  <a:gd name="connsiteY5" fmla="*/ 152400 h 556260"/>
                  <a:gd name="connsiteX6" fmla="*/ 45720 w 114300"/>
                  <a:gd name="connsiteY6" fmla="*/ 129540 h 556260"/>
                  <a:gd name="connsiteX7" fmla="*/ 38100 w 114300"/>
                  <a:gd name="connsiteY7" fmla="*/ 99060 h 556260"/>
                  <a:gd name="connsiteX8" fmla="*/ 22860 w 114300"/>
                  <a:gd name="connsiteY8" fmla="*/ 68580 h 556260"/>
                  <a:gd name="connsiteX9" fmla="*/ 15240 w 114300"/>
                  <a:gd name="connsiteY9" fmla="*/ 38100 h 556260"/>
                  <a:gd name="connsiteX10" fmla="*/ 0 w 114300"/>
                  <a:gd name="connsiteY10" fmla="*/ 0 h 556260"/>
                  <a:gd name="connsiteX0" fmla="*/ 83820 w 114300"/>
                  <a:gd name="connsiteY0" fmla="*/ 556260 h 556260"/>
                  <a:gd name="connsiteX1" fmla="*/ 114300 w 114300"/>
                  <a:gd name="connsiteY1" fmla="*/ 281940 h 556260"/>
                  <a:gd name="connsiteX2" fmla="*/ 106680 w 114300"/>
                  <a:gd name="connsiteY2" fmla="*/ 236220 h 556260"/>
                  <a:gd name="connsiteX3" fmla="*/ 83820 w 114300"/>
                  <a:gd name="connsiteY3" fmla="*/ 213360 h 556260"/>
                  <a:gd name="connsiteX4" fmla="*/ 53340 w 114300"/>
                  <a:gd name="connsiteY4" fmla="*/ 152400 h 556260"/>
                  <a:gd name="connsiteX5" fmla="*/ 45720 w 114300"/>
                  <a:gd name="connsiteY5" fmla="*/ 129540 h 556260"/>
                  <a:gd name="connsiteX6" fmla="*/ 38100 w 114300"/>
                  <a:gd name="connsiteY6" fmla="*/ 99060 h 556260"/>
                  <a:gd name="connsiteX7" fmla="*/ 22860 w 114300"/>
                  <a:gd name="connsiteY7" fmla="*/ 68580 h 556260"/>
                  <a:gd name="connsiteX8" fmla="*/ 15240 w 114300"/>
                  <a:gd name="connsiteY8" fmla="*/ 38100 h 556260"/>
                  <a:gd name="connsiteX9" fmla="*/ 0 w 114300"/>
                  <a:gd name="connsiteY9" fmla="*/ 0 h 556260"/>
                  <a:gd name="connsiteX0" fmla="*/ 68691 w 99171"/>
                  <a:gd name="connsiteY0" fmla="*/ 815340 h 815340"/>
                  <a:gd name="connsiteX1" fmla="*/ 99171 w 99171"/>
                  <a:gd name="connsiteY1" fmla="*/ 541020 h 815340"/>
                  <a:gd name="connsiteX2" fmla="*/ 91551 w 99171"/>
                  <a:gd name="connsiteY2" fmla="*/ 495300 h 815340"/>
                  <a:gd name="connsiteX3" fmla="*/ 68691 w 99171"/>
                  <a:gd name="connsiteY3" fmla="*/ 472440 h 815340"/>
                  <a:gd name="connsiteX4" fmla="*/ 38211 w 99171"/>
                  <a:gd name="connsiteY4" fmla="*/ 411480 h 815340"/>
                  <a:gd name="connsiteX5" fmla="*/ 30591 w 99171"/>
                  <a:gd name="connsiteY5" fmla="*/ 388620 h 815340"/>
                  <a:gd name="connsiteX6" fmla="*/ 22971 w 99171"/>
                  <a:gd name="connsiteY6" fmla="*/ 358140 h 815340"/>
                  <a:gd name="connsiteX7" fmla="*/ 7731 w 99171"/>
                  <a:gd name="connsiteY7" fmla="*/ 327660 h 815340"/>
                  <a:gd name="connsiteX8" fmla="*/ 111 w 99171"/>
                  <a:gd name="connsiteY8" fmla="*/ 297180 h 815340"/>
                  <a:gd name="connsiteX9" fmla="*/ 111 w 99171"/>
                  <a:gd name="connsiteY9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38100 w 99060"/>
                  <a:gd name="connsiteY4" fmla="*/ 411480 h 815340"/>
                  <a:gd name="connsiteX5" fmla="*/ 30480 w 99060"/>
                  <a:gd name="connsiteY5" fmla="*/ 388620 h 815340"/>
                  <a:gd name="connsiteX6" fmla="*/ 22860 w 99060"/>
                  <a:gd name="connsiteY6" fmla="*/ 358140 h 815340"/>
                  <a:gd name="connsiteX7" fmla="*/ 7620 w 99060"/>
                  <a:gd name="connsiteY7" fmla="*/ 327660 h 815340"/>
                  <a:gd name="connsiteX8" fmla="*/ 0 w 99060"/>
                  <a:gd name="connsiteY8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38100 w 99060"/>
                  <a:gd name="connsiteY4" fmla="*/ 411480 h 815340"/>
                  <a:gd name="connsiteX5" fmla="*/ 30480 w 99060"/>
                  <a:gd name="connsiteY5" fmla="*/ 388620 h 815340"/>
                  <a:gd name="connsiteX6" fmla="*/ 22860 w 99060"/>
                  <a:gd name="connsiteY6" fmla="*/ 358140 h 815340"/>
                  <a:gd name="connsiteX7" fmla="*/ 0 w 99060"/>
                  <a:gd name="connsiteY7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38100 w 99060"/>
                  <a:gd name="connsiteY4" fmla="*/ 411480 h 815340"/>
                  <a:gd name="connsiteX5" fmla="*/ 30480 w 99060"/>
                  <a:gd name="connsiteY5" fmla="*/ 388620 h 815340"/>
                  <a:gd name="connsiteX6" fmla="*/ 0 w 99060"/>
                  <a:gd name="connsiteY6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38100 w 99060"/>
                  <a:gd name="connsiteY4" fmla="*/ 411480 h 815340"/>
                  <a:gd name="connsiteX5" fmla="*/ 0 w 99060"/>
                  <a:gd name="connsiteY5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91440 w 99060"/>
                  <a:gd name="connsiteY2" fmla="*/ 495300 h 815340"/>
                  <a:gd name="connsiteX3" fmla="*/ 68580 w 99060"/>
                  <a:gd name="connsiteY3" fmla="*/ 472440 h 815340"/>
                  <a:gd name="connsiteX4" fmla="*/ 0 w 99060"/>
                  <a:gd name="connsiteY4" fmla="*/ 0 h 815340"/>
                  <a:gd name="connsiteX0" fmla="*/ 68580 w 100575"/>
                  <a:gd name="connsiteY0" fmla="*/ 815340 h 815340"/>
                  <a:gd name="connsiteX1" fmla="*/ 99060 w 100575"/>
                  <a:gd name="connsiteY1" fmla="*/ 541020 h 815340"/>
                  <a:gd name="connsiteX2" fmla="*/ 91440 w 100575"/>
                  <a:gd name="connsiteY2" fmla="*/ 495300 h 815340"/>
                  <a:gd name="connsiteX3" fmla="*/ 0 w 100575"/>
                  <a:gd name="connsiteY3" fmla="*/ 0 h 815340"/>
                  <a:gd name="connsiteX0" fmla="*/ 68580 w 99060"/>
                  <a:gd name="connsiteY0" fmla="*/ 815340 h 815340"/>
                  <a:gd name="connsiteX1" fmla="*/ 99060 w 99060"/>
                  <a:gd name="connsiteY1" fmla="*/ 541020 h 815340"/>
                  <a:gd name="connsiteX2" fmla="*/ 0 w 99060"/>
                  <a:gd name="connsiteY2" fmla="*/ 0 h 815340"/>
                  <a:gd name="connsiteX0" fmla="*/ 220980 w 251460"/>
                  <a:gd name="connsiteY0" fmla="*/ 845820 h 845820"/>
                  <a:gd name="connsiteX1" fmla="*/ 251460 w 251460"/>
                  <a:gd name="connsiteY1" fmla="*/ 571500 h 845820"/>
                  <a:gd name="connsiteX2" fmla="*/ 0 w 251460"/>
                  <a:gd name="connsiteY2" fmla="*/ 0 h 845820"/>
                  <a:gd name="connsiteX0" fmla="*/ 220980 w 274320"/>
                  <a:gd name="connsiteY0" fmla="*/ 845820 h 845820"/>
                  <a:gd name="connsiteX1" fmla="*/ 274320 w 274320"/>
                  <a:gd name="connsiteY1" fmla="*/ 571500 h 845820"/>
                  <a:gd name="connsiteX2" fmla="*/ 0 w 274320"/>
                  <a:gd name="connsiteY2" fmla="*/ 0 h 845820"/>
                  <a:gd name="connsiteX0" fmla="*/ 220980 w 266700"/>
                  <a:gd name="connsiteY0" fmla="*/ 845820 h 845820"/>
                  <a:gd name="connsiteX1" fmla="*/ 266700 w 266700"/>
                  <a:gd name="connsiteY1" fmla="*/ 586740 h 845820"/>
                  <a:gd name="connsiteX2" fmla="*/ 0 w 266700"/>
                  <a:gd name="connsiteY2" fmla="*/ 0 h 845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6700" h="845820">
                    <a:moveTo>
                      <a:pt x="220980" y="845820"/>
                    </a:moveTo>
                    <a:cubicBezTo>
                      <a:pt x="227330" y="788670"/>
                      <a:pt x="262890" y="640080"/>
                      <a:pt x="266700" y="586740"/>
                    </a:cubicBezTo>
                    <a:cubicBezTo>
                      <a:pt x="255270" y="450850"/>
                      <a:pt x="20637" y="112712"/>
                      <a:pt x="0" y="0"/>
                    </a:cubicBezTo>
                  </a:path>
                </a:pathLst>
              </a:custGeom>
              <a:noFill/>
              <a:ln w="25400" cap="flat">
                <a:solidFill>
                  <a:srgbClr val="FF000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91439" tIns="45719" rIns="91439" bIns="45719" numCol="1" spcCol="38100" rtlCol="0" anchor="t">
                <a:no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s-CO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endParaRPr>
              </a:p>
            </p:txBody>
          </p:sp>
        </p:grpSp>
        <p:sp>
          <p:nvSpPr>
            <p:cNvPr id="25" name="24 CuadroTexto"/>
            <p:cNvSpPr txBox="1"/>
            <p:nvPr/>
          </p:nvSpPr>
          <p:spPr>
            <a:xfrm>
              <a:off x="2809153" y="1185822"/>
              <a:ext cx="818658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MOJ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1087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4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6" dur="3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1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z="2400" dirty="0"/>
              <a:t>DESCRIPCIÓN DEL EVENTO</a:t>
            </a:r>
            <a:br>
              <a:rPr lang="es-ES_tradnl" sz="2400" dirty="0"/>
            </a:br>
            <a:endParaRPr lang="es-CO" sz="240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CO" dirty="0"/>
              <a:t>1</a:t>
            </a: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283" y="672041"/>
            <a:ext cx="3096344" cy="4128459"/>
          </a:xfrm>
          <a:prstGeom prst="rect">
            <a:avLst/>
          </a:prstGeom>
        </p:spPr>
      </p:pic>
      <p:sp>
        <p:nvSpPr>
          <p:cNvPr id="10" name="Título 1"/>
          <p:cNvSpPr txBox="1">
            <a:spLocks/>
          </p:cNvSpPr>
          <p:nvPr/>
        </p:nvSpPr>
        <p:spPr>
          <a:xfrm>
            <a:off x="609600" y="221456"/>
            <a:ext cx="8229600" cy="1131094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/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595959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595959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595959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595959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595959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595959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595959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595959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595959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pPr algn="ctr" hangingPunct="1"/>
            <a:endParaRPr lang="es-ES_tradnl" sz="2400" b="1" dirty="0">
              <a:solidFill>
                <a:schemeClr val="accent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14 Paralelogramo"/>
          <p:cNvSpPr/>
          <p:nvPr/>
        </p:nvSpPr>
        <p:spPr>
          <a:xfrm rot="2116027">
            <a:off x="1225756" y="1576525"/>
            <a:ext cx="534808" cy="241449"/>
          </a:xfrm>
          <a:prstGeom prst="parallelogram">
            <a:avLst>
              <a:gd name="adj" fmla="val 68751"/>
            </a:avLst>
          </a:prstGeom>
          <a:noFill/>
          <a:ln w="25400" cap="flat">
            <a:solidFill>
              <a:srgbClr val="FFFF00"/>
            </a:solidFill>
            <a:prstDash val="sysDot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spc="0" normalizeH="0" baseline="0">
              <a:ln>
                <a:noFill/>
              </a:ln>
              <a:solidFill>
                <a:srgbClr val="595959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9" name="18 Grupo"/>
          <p:cNvGrpSpPr/>
          <p:nvPr/>
        </p:nvGrpSpPr>
        <p:grpSpPr>
          <a:xfrm>
            <a:off x="950283" y="3409566"/>
            <a:ext cx="3058356" cy="1150580"/>
            <a:chOff x="3241836" y="3618270"/>
            <a:chExt cx="3058356" cy="1150580"/>
          </a:xfrm>
        </p:grpSpPr>
        <p:sp>
          <p:nvSpPr>
            <p:cNvPr id="11" name="10 Forma libre"/>
            <p:cNvSpPr/>
            <p:nvPr/>
          </p:nvSpPr>
          <p:spPr>
            <a:xfrm>
              <a:off x="3241836" y="3618270"/>
              <a:ext cx="3058356" cy="1150580"/>
            </a:xfrm>
            <a:custGeom>
              <a:avLst/>
              <a:gdLst>
                <a:gd name="connsiteX0" fmla="*/ 0 w 3058356"/>
                <a:gd name="connsiteY0" fmla="*/ 147280 h 1150580"/>
                <a:gd name="connsiteX1" fmla="*/ 158750 w 3058356"/>
                <a:gd name="connsiteY1" fmla="*/ 77430 h 1150580"/>
                <a:gd name="connsiteX2" fmla="*/ 330200 w 3058356"/>
                <a:gd name="connsiteY2" fmla="*/ 1230 h 1150580"/>
                <a:gd name="connsiteX3" fmla="*/ 419100 w 3058356"/>
                <a:gd name="connsiteY3" fmla="*/ 39330 h 1150580"/>
                <a:gd name="connsiteX4" fmla="*/ 469900 w 3058356"/>
                <a:gd name="connsiteY4" fmla="*/ 153630 h 1150580"/>
                <a:gd name="connsiteX5" fmla="*/ 635000 w 3058356"/>
                <a:gd name="connsiteY5" fmla="*/ 210780 h 1150580"/>
                <a:gd name="connsiteX6" fmla="*/ 819150 w 3058356"/>
                <a:gd name="connsiteY6" fmla="*/ 229830 h 1150580"/>
                <a:gd name="connsiteX7" fmla="*/ 844550 w 3058356"/>
                <a:gd name="connsiteY7" fmla="*/ 325080 h 1150580"/>
                <a:gd name="connsiteX8" fmla="*/ 889000 w 3058356"/>
                <a:gd name="connsiteY8" fmla="*/ 426680 h 1150580"/>
                <a:gd name="connsiteX9" fmla="*/ 1060450 w 3058356"/>
                <a:gd name="connsiteY9" fmla="*/ 496530 h 1150580"/>
                <a:gd name="connsiteX10" fmla="*/ 1187450 w 3058356"/>
                <a:gd name="connsiteY10" fmla="*/ 496530 h 1150580"/>
                <a:gd name="connsiteX11" fmla="*/ 1422400 w 3058356"/>
                <a:gd name="connsiteY11" fmla="*/ 629880 h 1150580"/>
                <a:gd name="connsiteX12" fmla="*/ 1651000 w 3058356"/>
                <a:gd name="connsiteY12" fmla="*/ 807680 h 1150580"/>
                <a:gd name="connsiteX13" fmla="*/ 1778000 w 3058356"/>
                <a:gd name="connsiteY13" fmla="*/ 915630 h 1150580"/>
                <a:gd name="connsiteX14" fmla="*/ 1905000 w 3058356"/>
                <a:gd name="connsiteY14" fmla="*/ 941030 h 1150580"/>
                <a:gd name="connsiteX15" fmla="*/ 2108200 w 3058356"/>
                <a:gd name="connsiteY15" fmla="*/ 852130 h 1150580"/>
                <a:gd name="connsiteX16" fmla="*/ 2419350 w 3058356"/>
                <a:gd name="connsiteY16" fmla="*/ 788630 h 1150580"/>
                <a:gd name="connsiteX17" fmla="*/ 2609850 w 3058356"/>
                <a:gd name="connsiteY17" fmla="*/ 769580 h 1150580"/>
                <a:gd name="connsiteX18" fmla="*/ 2768600 w 3058356"/>
                <a:gd name="connsiteY18" fmla="*/ 801330 h 1150580"/>
                <a:gd name="connsiteX19" fmla="*/ 2863850 w 3058356"/>
                <a:gd name="connsiteY19" fmla="*/ 915630 h 1150580"/>
                <a:gd name="connsiteX20" fmla="*/ 2882900 w 3058356"/>
                <a:gd name="connsiteY20" fmla="*/ 1029930 h 1150580"/>
                <a:gd name="connsiteX21" fmla="*/ 2940050 w 3058356"/>
                <a:gd name="connsiteY21" fmla="*/ 1099780 h 1150580"/>
                <a:gd name="connsiteX22" fmla="*/ 3054350 w 3058356"/>
                <a:gd name="connsiteY22" fmla="*/ 1150580 h 115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58356" h="1150580">
                  <a:moveTo>
                    <a:pt x="0" y="147280"/>
                  </a:moveTo>
                  <a:lnTo>
                    <a:pt x="158750" y="77430"/>
                  </a:lnTo>
                  <a:cubicBezTo>
                    <a:pt x="213783" y="53088"/>
                    <a:pt x="286808" y="7580"/>
                    <a:pt x="330200" y="1230"/>
                  </a:cubicBezTo>
                  <a:cubicBezTo>
                    <a:pt x="373592" y="-5120"/>
                    <a:pt x="395817" y="13930"/>
                    <a:pt x="419100" y="39330"/>
                  </a:cubicBezTo>
                  <a:cubicBezTo>
                    <a:pt x="442383" y="64730"/>
                    <a:pt x="433917" y="125055"/>
                    <a:pt x="469900" y="153630"/>
                  </a:cubicBezTo>
                  <a:cubicBezTo>
                    <a:pt x="505883" y="182205"/>
                    <a:pt x="576792" y="198080"/>
                    <a:pt x="635000" y="210780"/>
                  </a:cubicBezTo>
                  <a:cubicBezTo>
                    <a:pt x="693208" y="223480"/>
                    <a:pt x="784225" y="210780"/>
                    <a:pt x="819150" y="229830"/>
                  </a:cubicBezTo>
                  <a:cubicBezTo>
                    <a:pt x="854075" y="248880"/>
                    <a:pt x="832908" y="292272"/>
                    <a:pt x="844550" y="325080"/>
                  </a:cubicBezTo>
                  <a:cubicBezTo>
                    <a:pt x="856192" y="357888"/>
                    <a:pt x="853017" y="398105"/>
                    <a:pt x="889000" y="426680"/>
                  </a:cubicBezTo>
                  <a:cubicBezTo>
                    <a:pt x="924983" y="455255"/>
                    <a:pt x="1010708" y="484888"/>
                    <a:pt x="1060450" y="496530"/>
                  </a:cubicBezTo>
                  <a:cubicBezTo>
                    <a:pt x="1110192" y="508172"/>
                    <a:pt x="1127125" y="474305"/>
                    <a:pt x="1187450" y="496530"/>
                  </a:cubicBezTo>
                  <a:cubicBezTo>
                    <a:pt x="1247775" y="518755"/>
                    <a:pt x="1345142" y="578022"/>
                    <a:pt x="1422400" y="629880"/>
                  </a:cubicBezTo>
                  <a:cubicBezTo>
                    <a:pt x="1499658" y="681738"/>
                    <a:pt x="1591733" y="760055"/>
                    <a:pt x="1651000" y="807680"/>
                  </a:cubicBezTo>
                  <a:cubicBezTo>
                    <a:pt x="1710267" y="855305"/>
                    <a:pt x="1735667" y="893405"/>
                    <a:pt x="1778000" y="915630"/>
                  </a:cubicBezTo>
                  <a:cubicBezTo>
                    <a:pt x="1820333" y="937855"/>
                    <a:pt x="1849967" y="951613"/>
                    <a:pt x="1905000" y="941030"/>
                  </a:cubicBezTo>
                  <a:cubicBezTo>
                    <a:pt x="1960033" y="930447"/>
                    <a:pt x="2022475" y="877530"/>
                    <a:pt x="2108200" y="852130"/>
                  </a:cubicBezTo>
                  <a:cubicBezTo>
                    <a:pt x="2193925" y="826730"/>
                    <a:pt x="2335742" y="802388"/>
                    <a:pt x="2419350" y="788630"/>
                  </a:cubicBezTo>
                  <a:cubicBezTo>
                    <a:pt x="2502958" y="774872"/>
                    <a:pt x="2551642" y="767463"/>
                    <a:pt x="2609850" y="769580"/>
                  </a:cubicBezTo>
                  <a:cubicBezTo>
                    <a:pt x="2668058" y="771697"/>
                    <a:pt x="2726267" y="776988"/>
                    <a:pt x="2768600" y="801330"/>
                  </a:cubicBezTo>
                  <a:cubicBezTo>
                    <a:pt x="2810933" y="825672"/>
                    <a:pt x="2844800" y="877530"/>
                    <a:pt x="2863850" y="915630"/>
                  </a:cubicBezTo>
                  <a:cubicBezTo>
                    <a:pt x="2882900" y="953730"/>
                    <a:pt x="2870200" y="999238"/>
                    <a:pt x="2882900" y="1029930"/>
                  </a:cubicBezTo>
                  <a:cubicBezTo>
                    <a:pt x="2895600" y="1060622"/>
                    <a:pt x="2911475" y="1079672"/>
                    <a:pt x="2940050" y="1099780"/>
                  </a:cubicBezTo>
                  <a:cubicBezTo>
                    <a:pt x="2968625" y="1119888"/>
                    <a:pt x="3080808" y="1137880"/>
                    <a:pt x="3054350" y="1150580"/>
                  </a:cubicBezTo>
                </a:path>
              </a:pathLst>
            </a:custGeom>
            <a:noFill/>
            <a:ln w="25400" cap="flat">
              <a:solidFill>
                <a:schemeClr val="accent2">
                  <a:lumMod val="75000"/>
                </a:schemeClr>
              </a:solidFill>
              <a:prstDash val="sysDot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O" sz="1800" b="0" i="0" u="none" strike="noStrike" cap="none" spc="0" normalizeH="0" baseline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FillTx/>
              </a:endParaRPr>
            </a:p>
          </p:txBody>
        </p:sp>
        <p:sp>
          <p:nvSpPr>
            <p:cNvPr id="16" name="15 CuadroTexto"/>
            <p:cNvSpPr txBox="1"/>
            <p:nvPr/>
          </p:nvSpPr>
          <p:spPr>
            <a:xfrm rot="1459658">
              <a:off x="3762550" y="3959768"/>
              <a:ext cx="1498706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Qda</a:t>
              </a: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. </a:t>
              </a: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Sangoyaco</a:t>
              </a:r>
              <a:endParaRPr kumimoji="0" lang="es-CO" sz="800" b="1" i="0" u="none" strike="noStrike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8" name="17 Grupo"/>
          <p:cNvGrpSpPr/>
          <p:nvPr/>
        </p:nvGrpSpPr>
        <p:grpSpPr>
          <a:xfrm>
            <a:off x="893133" y="1474046"/>
            <a:ext cx="972068" cy="2152650"/>
            <a:chOff x="3184686" y="1682750"/>
            <a:chExt cx="972068" cy="2152650"/>
          </a:xfrm>
        </p:grpSpPr>
        <p:sp>
          <p:nvSpPr>
            <p:cNvPr id="13" name="12 Forma libre"/>
            <p:cNvSpPr/>
            <p:nvPr/>
          </p:nvSpPr>
          <p:spPr>
            <a:xfrm>
              <a:off x="3184686" y="1682750"/>
              <a:ext cx="972068" cy="2152650"/>
            </a:xfrm>
            <a:custGeom>
              <a:avLst/>
              <a:gdLst>
                <a:gd name="connsiteX0" fmla="*/ 0 w 972068"/>
                <a:gd name="connsiteY0" fmla="*/ 0 h 2152650"/>
                <a:gd name="connsiteX1" fmla="*/ 215900 w 972068"/>
                <a:gd name="connsiteY1" fmla="*/ 152400 h 2152650"/>
                <a:gd name="connsiteX2" fmla="*/ 336550 w 972068"/>
                <a:gd name="connsiteY2" fmla="*/ 234950 h 2152650"/>
                <a:gd name="connsiteX3" fmla="*/ 381000 w 972068"/>
                <a:gd name="connsiteY3" fmla="*/ 323850 h 2152650"/>
                <a:gd name="connsiteX4" fmla="*/ 393700 w 972068"/>
                <a:gd name="connsiteY4" fmla="*/ 381000 h 2152650"/>
                <a:gd name="connsiteX5" fmla="*/ 431800 w 972068"/>
                <a:gd name="connsiteY5" fmla="*/ 450850 h 2152650"/>
                <a:gd name="connsiteX6" fmla="*/ 476250 w 972068"/>
                <a:gd name="connsiteY6" fmla="*/ 539750 h 2152650"/>
                <a:gd name="connsiteX7" fmla="*/ 501650 w 972068"/>
                <a:gd name="connsiteY7" fmla="*/ 596900 h 2152650"/>
                <a:gd name="connsiteX8" fmla="*/ 565150 w 972068"/>
                <a:gd name="connsiteY8" fmla="*/ 660400 h 2152650"/>
                <a:gd name="connsiteX9" fmla="*/ 590550 w 972068"/>
                <a:gd name="connsiteY9" fmla="*/ 704850 h 2152650"/>
                <a:gd name="connsiteX10" fmla="*/ 679450 w 972068"/>
                <a:gd name="connsiteY10" fmla="*/ 831850 h 2152650"/>
                <a:gd name="connsiteX11" fmla="*/ 749300 w 972068"/>
                <a:gd name="connsiteY11" fmla="*/ 958850 h 2152650"/>
                <a:gd name="connsiteX12" fmla="*/ 755650 w 972068"/>
                <a:gd name="connsiteY12" fmla="*/ 1054100 h 2152650"/>
                <a:gd name="connsiteX13" fmla="*/ 755650 w 972068"/>
                <a:gd name="connsiteY13" fmla="*/ 1174750 h 2152650"/>
                <a:gd name="connsiteX14" fmla="*/ 736600 w 972068"/>
                <a:gd name="connsiteY14" fmla="*/ 1263650 h 2152650"/>
                <a:gd name="connsiteX15" fmla="*/ 736600 w 972068"/>
                <a:gd name="connsiteY15" fmla="*/ 1365250 h 2152650"/>
                <a:gd name="connsiteX16" fmla="*/ 781050 w 972068"/>
                <a:gd name="connsiteY16" fmla="*/ 1454150 h 2152650"/>
                <a:gd name="connsiteX17" fmla="*/ 946150 w 972068"/>
                <a:gd name="connsiteY17" fmla="*/ 1524000 h 2152650"/>
                <a:gd name="connsiteX18" fmla="*/ 971550 w 972068"/>
                <a:gd name="connsiteY18" fmla="*/ 1619250 h 2152650"/>
                <a:gd name="connsiteX19" fmla="*/ 946150 w 972068"/>
                <a:gd name="connsiteY19" fmla="*/ 1841500 h 2152650"/>
                <a:gd name="connsiteX20" fmla="*/ 933450 w 972068"/>
                <a:gd name="connsiteY20" fmla="*/ 1955800 h 2152650"/>
                <a:gd name="connsiteX21" fmla="*/ 876300 w 972068"/>
                <a:gd name="connsiteY21" fmla="*/ 2152650 h 215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72068" h="2152650">
                  <a:moveTo>
                    <a:pt x="0" y="0"/>
                  </a:moveTo>
                  <a:lnTo>
                    <a:pt x="215900" y="152400"/>
                  </a:lnTo>
                  <a:cubicBezTo>
                    <a:pt x="271992" y="191558"/>
                    <a:pt x="309033" y="206375"/>
                    <a:pt x="336550" y="234950"/>
                  </a:cubicBezTo>
                  <a:cubicBezTo>
                    <a:pt x="364067" y="263525"/>
                    <a:pt x="371475" y="299508"/>
                    <a:pt x="381000" y="323850"/>
                  </a:cubicBezTo>
                  <a:cubicBezTo>
                    <a:pt x="390525" y="348192"/>
                    <a:pt x="385233" y="359833"/>
                    <a:pt x="393700" y="381000"/>
                  </a:cubicBezTo>
                  <a:cubicBezTo>
                    <a:pt x="402167" y="402167"/>
                    <a:pt x="418042" y="424392"/>
                    <a:pt x="431800" y="450850"/>
                  </a:cubicBezTo>
                  <a:cubicBezTo>
                    <a:pt x="445558" y="477308"/>
                    <a:pt x="464608" y="515408"/>
                    <a:pt x="476250" y="539750"/>
                  </a:cubicBezTo>
                  <a:cubicBezTo>
                    <a:pt x="487892" y="564092"/>
                    <a:pt x="486833" y="576792"/>
                    <a:pt x="501650" y="596900"/>
                  </a:cubicBezTo>
                  <a:cubicBezTo>
                    <a:pt x="516467" y="617008"/>
                    <a:pt x="550333" y="642408"/>
                    <a:pt x="565150" y="660400"/>
                  </a:cubicBezTo>
                  <a:cubicBezTo>
                    <a:pt x="579967" y="678392"/>
                    <a:pt x="571500" y="676275"/>
                    <a:pt x="590550" y="704850"/>
                  </a:cubicBezTo>
                  <a:cubicBezTo>
                    <a:pt x="609600" y="733425"/>
                    <a:pt x="652992" y="789517"/>
                    <a:pt x="679450" y="831850"/>
                  </a:cubicBezTo>
                  <a:cubicBezTo>
                    <a:pt x="705908" y="874183"/>
                    <a:pt x="736600" y="921808"/>
                    <a:pt x="749300" y="958850"/>
                  </a:cubicBezTo>
                  <a:cubicBezTo>
                    <a:pt x="762000" y="995892"/>
                    <a:pt x="754592" y="1018117"/>
                    <a:pt x="755650" y="1054100"/>
                  </a:cubicBezTo>
                  <a:cubicBezTo>
                    <a:pt x="756708" y="1090083"/>
                    <a:pt x="758825" y="1139825"/>
                    <a:pt x="755650" y="1174750"/>
                  </a:cubicBezTo>
                  <a:cubicBezTo>
                    <a:pt x="752475" y="1209675"/>
                    <a:pt x="739775" y="1231900"/>
                    <a:pt x="736600" y="1263650"/>
                  </a:cubicBezTo>
                  <a:cubicBezTo>
                    <a:pt x="733425" y="1295400"/>
                    <a:pt x="729192" y="1333500"/>
                    <a:pt x="736600" y="1365250"/>
                  </a:cubicBezTo>
                  <a:cubicBezTo>
                    <a:pt x="744008" y="1397000"/>
                    <a:pt x="746125" y="1427692"/>
                    <a:pt x="781050" y="1454150"/>
                  </a:cubicBezTo>
                  <a:cubicBezTo>
                    <a:pt x="815975" y="1480608"/>
                    <a:pt x="914400" y="1496483"/>
                    <a:pt x="946150" y="1524000"/>
                  </a:cubicBezTo>
                  <a:cubicBezTo>
                    <a:pt x="977900" y="1551517"/>
                    <a:pt x="971550" y="1566333"/>
                    <a:pt x="971550" y="1619250"/>
                  </a:cubicBezTo>
                  <a:cubicBezTo>
                    <a:pt x="971550" y="1672167"/>
                    <a:pt x="952500" y="1785408"/>
                    <a:pt x="946150" y="1841500"/>
                  </a:cubicBezTo>
                  <a:cubicBezTo>
                    <a:pt x="939800" y="1897592"/>
                    <a:pt x="945092" y="1903942"/>
                    <a:pt x="933450" y="1955800"/>
                  </a:cubicBezTo>
                  <a:cubicBezTo>
                    <a:pt x="921808" y="2007658"/>
                    <a:pt x="899054" y="2080154"/>
                    <a:pt x="876300" y="2152650"/>
                  </a:cubicBezTo>
                </a:path>
              </a:pathLst>
            </a:custGeom>
            <a:noFill/>
            <a:ln w="25400" cap="flat">
              <a:solidFill>
                <a:schemeClr val="accent2">
                  <a:lumMod val="75000"/>
                </a:schemeClr>
              </a:solidFill>
              <a:prstDash val="sysDot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O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17" name="16 CuadroTexto"/>
            <p:cNvSpPr txBox="1"/>
            <p:nvPr/>
          </p:nvSpPr>
          <p:spPr>
            <a:xfrm rot="3418427">
              <a:off x="3379751" y="2297524"/>
              <a:ext cx="972325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Qda</a:t>
              </a: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. </a:t>
              </a:r>
              <a:r>
                <a:rPr lang="es-CO" sz="800" b="1" dirty="0">
                  <a:solidFill>
                    <a:schemeClr val="accent2">
                      <a:lumMod val="75000"/>
                    </a:schemeClr>
                  </a:solidFill>
                </a:rPr>
                <a:t>T</a:t>
              </a: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aruca</a:t>
              </a:r>
            </a:p>
          </p:txBody>
        </p:sp>
      </p:grp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2437" y="769400"/>
            <a:ext cx="3933740" cy="3933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19 Paralelogramo"/>
          <p:cNvSpPr/>
          <p:nvPr/>
        </p:nvSpPr>
        <p:spPr>
          <a:xfrm rot="1337586">
            <a:off x="6265845" y="2110761"/>
            <a:ext cx="701859" cy="467600"/>
          </a:xfrm>
          <a:prstGeom prst="parallelogram">
            <a:avLst>
              <a:gd name="adj" fmla="val 55290"/>
            </a:avLst>
          </a:prstGeom>
          <a:noFill/>
          <a:ln w="25400" cap="flat">
            <a:solidFill>
              <a:srgbClr val="FFFF00"/>
            </a:solidFill>
            <a:prstDash val="sysDot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spc="0" normalizeH="0" baseline="0">
              <a:ln>
                <a:noFill/>
              </a:ln>
              <a:solidFill>
                <a:srgbClr val="595959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1" name="20 Grupo"/>
          <p:cNvGrpSpPr/>
          <p:nvPr/>
        </p:nvGrpSpPr>
        <p:grpSpPr>
          <a:xfrm>
            <a:off x="4540214" y="785928"/>
            <a:ext cx="3882951" cy="2189285"/>
            <a:chOff x="2769577" y="949569"/>
            <a:chExt cx="3882951" cy="2189285"/>
          </a:xfrm>
        </p:grpSpPr>
        <p:sp>
          <p:nvSpPr>
            <p:cNvPr id="22" name="21 Forma libre"/>
            <p:cNvSpPr/>
            <p:nvPr/>
          </p:nvSpPr>
          <p:spPr>
            <a:xfrm>
              <a:off x="2769577" y="949569"/>
              <a:ext cx="3882951" cy="2189285"/>
            </a:xfrm>
            <a:custGeom>
              <a:avLst/>
              <a:gdLst>
                <a:gd name="connsiteX0" fmla="*/ 3877408 w 3882951"/>
                <a:gd name="connsiteY0" fmla="*/ 0 h 2189285"/>
                <a:gd name="connsiteX1" fmla="*/ 3833446 w 3882951"/>
                <a:gd name="connsiteY1" fmla="*/ 123093 h 2189285"/>
                <a:gd name="connsiteX2" fmla="*/ 3516923 w 3882951"/>
                <a:gd name="connsiteY2" fmla="*/ 219808 h 2189285"/>
                <a:gd name="connsiteX3" fmla="*/ 3288323 w 3882951"/>
                <a:gd name="connsiteY3" fmla="*/ 492369 h 2189285"/>
                <a:gd name="connsiteX4" fmla="*/ 3200400 w 3882951"/>
                <a:gd name="connsiteY4" fmla="*/ 633046 h 2189285"/>
                <a:gd name="connsiteX5" fmla="*/ 3086100 w 3882951"/>
                <a:gd name="connsiteY5" fmla="*/ 835269 h 2189285"/>
                <a:gd name="connsiteX6" fmla="*/ 2259623 w 3882951"/>
                <a:gd name="connsiteY6" fmla="*/ 1195754 h 2189285"/>
                <a:gd name="connsiteX7" fmla="*/ 1890346 w 3882951"/>
                <a:gd name="connsiteY7" fmla="*/ 1292469 h 2189285"/>
                <a:gd name="connsiteX8" fmla="*/ 1494692 w 3882951"/>
                <a:gd name="connsiteY8" fmla="*/ 1468316 h 2189285"/>
                <a:gd name="connsiteX9" fmla="*/ 1160585 w 3882951"/>
                <a:gd name="connsiteY9" fmla="*/ 1600200 h 2189285"/>
                <a:gd name="connsiteX10" fmla="*/ 685800 w 3882951"/>
                <a:gd name="connsiteY10" fmla="*/ 1837593 h 2189285"/>
                <a:gd name="connsiteX11" fmla="*/ 404446 w 3882951"/>
                <a:gd name="connsiteY11" fmla="*/ 1916723 h 2189285"/>
                <a:gd name="connsiteX12" fmla="*/ 342900 w 3882951"/>
                <a:gd name="connsiteY12" fmla="*/ 1969477 h 2189285"/>
                <a:gd name="connsiteX13" fmla="*/ 0 w 3882951"/>
                <a:gd name="connsiteY13" fmla="*/ 2189285 h 218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882951" h="2189285">
                  <a:moveTo>
                    <a:pt x="3877408" y="0"/>
                  </a:moveTo>
                  <a:cubicBezTo>
                    <a:pt x="3885467" y="43229"/>
                    <a:pt x="3893527" y="86458"/>
                    <a:pt x="3833446" y="123093"/>
                  </a:cubicBezTo>
                  <a:cubicBezTo>
                    <a:pt x="3773365" y="159728"/>
                    <a:pt x="3607777" y="158262"/>
                    <a:pt x="3516923" y="219808"/>
                  </a:cubicBezTo>
                  <a:cubicBezTo>
                    <a:pt x="3426069" y="281354"/>
                    <a:pt x="3341077" y="423496"/>
                    <a:pt x="3288323" y="492369"/>
                  </a:cubicBezTo>
                  <a:cubicBezTo>
                    <a:pt x="3235569" y="561242"/>
                    <a:pt x="3234104" y="575896"/>
                    <a:pt x="3200400" y="633046"/>
                  </a:cubicBezTo>
                  <a:cubicBezTo>
                    <a:pt x="3166696" y="690196"/>
                    <a:pt x="3242896" y="741484"/>
                    <a:pt x="3086100" y="835269"/>
                  </a:cubicBezTo>
                  <a:cubicBezTo>
                    <a:pt x="2929304" y="929054"/>
                    <a:pt x="2458915" y="1119554"/>
                    <a:pt x="2259623" y="1195754"/>
                  </a:cubicBezTo>
                  <a:cubicBezTo>
                    <a:pt x="2060331" y="1271954"/>
                    <a:pt x="2017834" y="1247042"/>
                    <a:pt x="1890346" y="1292469"/>
                  </a:cubicBezTo>
                  <a:cubicBezTo>
                    <a:pt x="1762857" y="1337896"/>
                    <a:pt x="1616319" y="1417028"/>
                    <a:pt x="1494692" y="1468316"/>
                  </a:cubicBezTo>
                  <a:cubicBezTo>
                    <a:pt x="1373065" y="1519604"/>
                    <a:pt x="1295400" y="1538654"/>
                    <a:pt x="1160585" y="1600200"/>
                  </a:cubicBezTo>
                  <a:cubicBezTo>
                    <a:pt x="1025770" y="1661746"/>
                    <a:pt x="811823" y="1784839"/>
                    <a:pt x="685800" y="1837593"/>
                  </a:cubicBezTo>
                  <a:cubicBezTo>
                    <a:pt x="559777" y="1890347"/>
                    <a:pt x="461596" y="1894742"/>
                    <a:pt x="404446" y="1916723"/>
                  </a:cubicBezTo>
                  <a:cubicBezTo>
                    <a:pt x="347296" y="1938704"/>
                    <a:pt x="410308" y="1924050"/>
                    <a:pt x="342900" y="1969477"/>
                  </a:cubicBezTo>
                  <a:cubicBezTo>
                    <a:pt x="275492" y="2014904"/>
                    <a:pt x="52754" y="2157047"/>
                    <a:pt x="0" y="2189285"/>
                  </a:cubicBezTo>
                </a:path>
              </a:pathLst>
            </a:custGeom>
            <a:noFill/>
            <a:ln w="25400" cap="flat">
              <a:solidFill>
                <a:schemeClr val="accent2">
                  <a:lumMod val="75000"/>
                </a:schemeClr>
              </a:solidFill>
              <a:prstDash val="sysDot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O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23" name="22 CuadroTexto"/>
            <p:cNvSpPr txBox="1"/>
            <p:nvPr/>
          </p:nvSpPr>
          <p:spPr>
            <a:xfrm rot="20145332">
              <a:off x="5001957" y="1773027"/>
              <a:ext cx="972325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CO" sz="800" b="1" i="0" u="none" strike="noStrike" cap="none" spc="0" normalizeH="0" baseline="0" dirty="0" err="1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Qda</a:t>
              </a: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. </a:t>
              </a:r>
              <a:r>
                <a:rPr lang="es-CO" sz="800" b="1" dirty="0">
                  <a:solidFill>
                    <a:schemeClr val="accent2">
                      <a:lumMod val="75000"/>
                    </a:schemeClr>
                  </a:solidFill>
                </a:rPr>
                <a:t>T</a:t>
              </a:r>
              <a:r>
                <a:rPr kumimoji="0" lang="es-CO" sz="800" b="1" i="0" u="none" strike="noStrike" cap="none" spc="0" normalizeH="0" baseline="0" dirty="0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aru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56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PLAN DE CONTIGENCIA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CO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287164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2095691" y="1768347"/>
            <a:ext cx="281359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_tradnl" b="1" dirty="0">
                <a:solidFill>
                  <a:schemeClr val="bg1"/>
                </a:solidFill>
              </a:rPr>
              <a:t>PEC</a:t>
            </a:r>
          </a:p>
          <a:p>
            <a:pPr algn="ctr"/>
            <a:r>
              <a:rPr lang="es-ES_tradnl" b="1" dirty="0">
                <a:solidFill>
                  <a:schemeClr val="bg1"/>
                </a:solidFill>
              </a:rPr>
              <a:t>Definición de Objetivos </a:t>
            </a:r>
          </a:p>
          <a:p>
            <a:pPr algn="ctr"/>
            <a:r>
              <a:rPr lang="es-ES_tradnl" b="1" dirty="0">
                <a:solidFill>
                  <a:schemeClr val="bg1"/>
                </a:solidFill>
              </a:rPr>
              <a:t>2017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6369" y="555115"/>
            <a:ext cx="5265325" cy="4053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211567" y="96011"/>
            <a:ext cx="6960834" cy="534640"/>
          </a:xfrm>
        </p:spPr>
        <p:txBody>
          <a:bodyPr/>
          <a:lstStyle/>
          <a:p>
            <a:r>
              <a:rPr lang="es-CO" dirty="0"/>
              <a:t>PLAN DE CONTINGENCIA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CO" dirty="0"/>
              <a:t>2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1741979" y="873667"/>
            <a:ext cx="2848686" cy="5346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s-ES_tradnl"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r>
              <a:rPr lang="es-CO" sz="1200" dirty="0"/>
              <a:t>Zona suroccidente del SIN</a:t>
            </a:r>
          </a:p>
        </p:txBody>
      </p:sp>
      <p:sp>
        <p:nvSpPr>
          <p:cNvPr id="9" name="1 Título"/>
          <p:cNvSpPr txBox="1">
            <a:spLocks/>
          </p:cNvSpPr>
          <p:nvPr/>
        </p:nvSpPr>
        <p:spPr>
          <a:xfrm>
            <a:off x="4550291" y="4453529"/>
            <a:ext cx="2848686" cy="53464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s-ES_tradnl" sz="25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r>
              <a:rPr lang="es-CO" sz="1200" dirty="0"/>
              <a:t>Sistema de Transmisión Regional y de Distribución Local del Putumayo</a:t>
            </a:r>
          </a:p>
        </p:txBody>
      </p:sp>
    </p:spTree>
    <p:extLst>
      <p:ext uri="{BB962C8B-B14F-4D97-AF65-F5344CB8AC3E}">
        <p14:creationId xmlns:p14="http://schemas.microsoft.com/office/powerpoint/2010/main" val="14745122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636866" y="1923678"/>
            <a:ext cx="281359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_tradnl" b="1" dirty="0">
                <a:solidFill>
                  <a:schemeClr val="bg1"/>
                </a:solidFill>
              </a:rPr>
              <a:t>PEC</a:t>
            </a:r>
          </a:p>
          <a:p>
            <a:pPr algn="ctr"/>
            <a:r>
              <a:rPr lang="es-ES_tradnl" b="1" dirty="0">
                <a:solidFill>
                  <a:schemeClr val="bg1"/>
                </a:solidFill>
              </a:rPr>
              <a:t>Definición de Objetivos </a:t>
            </a:r>
          </a:p>
          <a:p>
            <a:pPr algn="ctr"/>
            <a:r>
              <a:rPr lang="es-ES_tradnl" b="1" dirty="0">
                <a:solidFill>
                  <a:schemeClr val="bg1"/>
                </a:solidFill>
              </a:rPr>
              <a:t>2017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PLAN DE CONTINGENCIA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CO" dirty="0"/>
              <a:t>2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52358"/>
            <a:ext cx="6984851" cy="378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6 CuadroTexto"/>
          <p:cNvSpPr txBox="1"/>
          <p:nvPr/>
        </p:nvSpPr>
        <p:spPr>
          <a:xfrm>
            <a:off x="5723476" y="1272873"/>
            <a:ext cx="2971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200" dirty="0"/>
              <a:t>1. Construcción subestación móvil 115KV / 34,5 </a:t>
            </a:r>
            <a:r>
              <a:rPr lang="es-CO" sz="1200" dirty="0" err="1"/>
              <a:t>kV</a:t>
            </a:r>
            <a:r>
              <a:rPr lang="es-CO" sz="1200" dirty="0"/>
              <a:t> /13,2 </a:t>
            </a:r>
            <a:r>
              <a:rPr lang="es-CO" sz="1200" dirty="0" err="1"/>
              <a:t>kV</a:t>
            </a:r>
            <a:r>
              <a:rPr lang="es-CO" sz="1200" dirty="0"/>
              <a:t> </a:t>
            </a:r>
          </a:p>
          <a:p>
            <a:pPr algn="just"/>
            <a:endParaRPr lang="es-CO" sz="1200" dirty="0"/>
          </a:p>
        </p:txBody>
      </p:sp>
      <p:sp>
        <p:nvSpPr>
          <p:cNvPr id="8" name="7 CuadroTexto"/>
          <p:cNvSpPr txBox="1"/>
          <p:nvPr/>
        </p:nvSpPr>
        <p:spPr>
          <a:xfrm>
            <a:off x="230358" y="3417262"/>
            <a:ext cx="15333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200" dirty="0"/>
              <a:t>2. Reconfiguración Subestación Mocoa 115 </a:t>
            </a:r>
            <a:r>
              <a:rPr lang="es-CO" sz="1200" dirty="0" err="1"/>
              <a:t>kV</a:t>
            </a:r>
            <a:endParaRPr lang="es-CO" sz="1200" dirty="0"/>
          </a:p>
          <a:p>
            <a:pPr algn="just"/>
            <a:endParaRPr lang="es-CO" sz="1200" dirty="0"/>
          </a:p>
        </p:txBody>
      </p:sp>
      <p:cxnSp>
        <p:nvCxnSpPr>
          <p:cNvPr id="6" name="5 Conector recto de flecha"/>
          <p:cNvCxnSpPr>
            <a:stCxn id="7" idx="1"/>
          </p:cNvCxnSpPr>
          <p:nvPr/>
        </p:nvCxnSpPr>
        <p:spPr>
          <a:xfrm flipH="1">
            <a:off x="3450457" y="1596039"/>
            <a:ext cx="2273019" cy="78930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 de flecha"/>
          <p:cNvCxnSpPr>
            <a:stCxn id="8" idx="3"/>
          </p:cNvCxnSpPr>
          <p:nvPr/>
        </p:nvCxnSpPr>
        <p:spPr>
          <a:xfrm>
            <a:off x="1763688" y="3832761"/>
            <a:ext cx="432048" cy="32316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 de flecha"/>
          <p:cNvCxnSpPr/>
          <p:nvPr/>
        </p:nvCxnSpPr>
        <p:spPr>
          <a:xfrm flipH="1">
            <a:off x="2186768" y="2182228"/>
            <a:ext cx="155717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26 Conector recto de flecha"/>
          <p:cNvCxnSpPr/>
          <p:nvPr/>
        </p:nvCxnSpPr>
        <p:spPr>
          <a:xfrm flipH="1">
            <a:off x="3733375" y="1059582"/>
            <a:ext cx="1342681" cy="112264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28 CuadroTexto"/>
          <p:cNvSpPr txBox="1"/>
          <p:nvPr/>
        </p:nvSpPr>
        <p:spPr>
          <a:xfrm>
            <a:off x="5148064" y="626542"/>
            <a:ext cx="33843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200" dirty="0"/>
              <a:t>0. Reconfiguración a 115 </a:t>
            </a:r>
            <a:r>
              <a:rPr lang="es-CO" sz="1200" dirty="0" err="1"/>
              <a:t>kV</a:t>
            </a:r>
            <a:r>
              <a:rPr lang="es-CO" sz="1200" dirty="0"/>
              <a:t> Línea Altamira – Mocoa 230 </a:t>
            </a:r>
            <a:r>
              <a:rPr lang="es-CO" sz="1200" dirty="0" err="1"/>
              <a:t>kV</a:t>
            </a:r>
            <a:r>
              <a:rPr lang="es-CO" sz="1200" dirty="0"/>
              <a:t> </a:t>
            </a:r>
          </a:p>
          <a:p>
            <a:pPr algn="just"/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3823022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Pl6vT1EOOm3G.rIpe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Pl6vT1EOOm3G.rIpe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Pl6vT1EOOm3G.rIpe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MZArGMcE.OGk.WK1nEe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Pl6vT1EOOm3G.rIpe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Pl6vT1EOOm3G.rIpe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Pl6vT1EOOm3G.rIpe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Pl6vT1EOOm3G.rIpe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iRwHr9hEepWghbHLTG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MZArGMcE.OGk.WK1nEe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iRwHr9hEepWghbHLTG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Pl6vT1EOOm3G.rIpe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OOJD1bU673HRDjRYE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EP72oQB0iIkRTUBB6m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Pl6vT1EOOm3G.rIpeHA"/>
</p:tagLst>
</file>

<file path=ppt/theme/theme1.xml><?xml version="1.0" encoding="utf-8"?>
<a:theme xmlns:a="http://schemas.openxmlformats.org/drawingml/2006/main" name="Tema de Office">
  <a:themeElements>
    <a:clrScheme name="Colores Corporativos Grupo de Energía de Bogotá">
      <a:dk1>
        <a:srgbClr val="595959"/>
      </a:dk1>
      <a:lt1>
        <a:sysClr val="window" lastClr="FFFFFF"/>
      </a:lt1>
      <a:dk2>
        <a:srgbClr val="254A8D"/>
      </a:dk2>
      <a:lt2>
        <a:srgbClr val="2DA1DB"/>
      </a:lt2>
      <a:accent1>
        <a:srgbClr val="2DA1DB"/>
      </a:accent1>
      <a:accent2>
        <a:srgbClr val="254A8D"/>
      </a:accent2>
      <a:accent3>
        <a:srgbClr val="E71D73"/>
      </a:accent3>
      <a:accent4>
        <a:srgbClr val="5FB34E"/>
      </a:accent4>
      <a:accent5>
        <a:srgbClr val="F39200"/>
      </a:accent5>
      <a:accent6>
        <a:srgbClr val="00A4A1"/>
      </a:accent6>
      <a:hlink>
        <a:srgbClr val="A7C543"/>
      </a:hlink>
      <a:folHlink>
        <a:srgbClr val="DEDC00"/>
      </a:folHlink>
    </a:clrScheme>
    <a:fontScheme name="Personalizado 1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808 CI Plantilla GEB 2016</Template>
  <TotalTime>7740</TotalTime>
  <Words>284</Words>
  <Application>Microsoft Office PowerPoint</Application>
  <PresentationFormat>Presentación en pantalla (16:9)</PresentationFormat>
  <Paragraphs>73</Paragraphs>
  <Slides>15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1" baseType="lpstr">
      <vt:lpstr>Arial</vt:lpstr>
      <vt:lpstr>Arial Narrow</vt:lpstr>
      <vt:lpstr>Calibri</vt:lpstr>
      <vt:lpstr>Tema de Office</vt:lpstr>
      <vt:lpstr>Diseño personalizado</vt:lpstr>
      <vt:lpstr>think-cell Slide</vt:lpstr>
      <vt:lpstr>GEB - PEC</vt:lpstr>
      <vt:lpstr>CONTENIDO</vt:lpstr>
      <vt:lpstr>DESCRIPCIÓN DEL EVENTO</vt:lpstr>
      <vt:lpstr>DESCRIPCIÓN DEL EVENTO</vt:lpstr>
      <vt:lpstr>DESCRIPCIÓN DEL EVENTO</vt:lpstr>
      <vt:lpstr>DESCRIPCIÓN DEL EVENTO </vt:lpstr>
      <vt:lpstr>PLAN DE CONTIGENCIA</vt:lpstr>
      <vt:lpstr>PLAN DE CONTINGENCIA</vt:lpstr>
      <vt:lpstr>PLAN DE CONTINGENCIA</vt:lpstr>
      <vt:lpstr>SOLUCIONES PROVISIONALES</vt:lpstr>
      <vt:lpstr>SOLUCIONES PROVISIONALES</vt:lpstr>
      <vt:lpstr>SOLUCIONES PROVISIONALES</vt:lpstr>
      <vt:lpstr>CRONOGRAMA</vt:lpstr>
      <vt:lpstr>CRONOGRAMA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 de Microsoft Office</dc:creator>
  <cp:lastModifiedBy>Alberto Olarte</cp:lastModifiedBy>
  <cp:revision>242</cp:revision>
  <cp:lastPrinted>2016-12-14T19:39:13Z</cp:lastPrinted>
  <dcterms:created xsi:type="dcterms:W3CDTF">2016-11-10T21:38:52Z</dcterms:created>
  <dcterms:modified xsi:type="dcterms:W3CDTF">2017-04-06T16:30:07Z</dcterms:modified>
</cp:coreProperties>
</file>